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8"/>
  </p:notesMasterIdLst>
  <p:handoutMasterIdLst>
    <p:handoutMasterId r:id="rId39"/>
  </p:handoutMasterIdLst>
  <p:sldIdLst>
    <p:sldId id="256" r:id="rId2"/>
    <p:sldId id="305" r:id="rId3"/>
    <p:sldId id="257" r:id="rId4"/>
    <p:sldId id="300" r:id="rId5"/>
    <p:sldId id="301" r:id="rId6"/>
    <p:sldId id="302" r:id="rId7"/>
    <p:sldId id="303" r:id="rId8"/>
    <p:sldId id="304" r:id="rId9"/>
    <p:sldId id="268" r:id="rId10"/>
    <p:sldId id="293" r:id="rId11"/>
    <p:sldId id="297" r:id="rId12"/>
    <p:sldId id="258" r:id="rId13"/>
    <p:sldId id="264" r:id="rId14"/>
    <p:sldId id="272" r:id="rId15"/>
    <p:sldId id="273" r:id="rId16"/>
    <p:sldId id="274" r:id="rId17"/>
    <p:sldId id="275" r:id="rId18"/>
    <p:sldId id="282" r:id="rId19"/>
    <p:sldId id="278" r:id="rId20"/>
    <p:sldId id="279" r:id="rId21"/>
    <p:sldId id="283" r:id="rId22"/>
    <p:sldId id="284" r:id="rId23"/>
    <p:sldId id="280" r:id="rId24"/>
    <p:sldId id="281" r:id="rId25"/>
    <p:sldId id="285" r:id="rId26"/>
    <p:sldId id="288" r:id="rId27"/>
    <p:sldId id="289" r:id="rId28"/>
    <p:sldId id="286" r:id="rId29"/>
    <p:sldId id="287" r:id="rId30"/>
    <p:sldId id="290" r:id="rId31"/>
    <p:sldId id="291" r:id="rId32"/>
    <p:sldId id="292" r:id="rId33"/>
    <p:sldId id="294" r:id="rId34"/>
    <p:sldId id="276" r:id="rId35"/>
    <p:sldId id="295" r:id="rId36"/>
    <p:sldId id="298" r:id="rId37"/>
  </p:sldIdLst>
  <p:sldSz cx="12192000" cy="6858000"/>
  <p:notesSz cx="6858000" cy="9144000"/>
  <p:custDataLst>
    <p:tags r:id="rId40"/>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88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5BE5F4-7B39-4157-9E40-22C20CD37BCF}" v="33" dt="2025-11-19T08:58:47.0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7" autoAdjust="0"/>
    <p:restoredTop sz="94404" autoAdjust="0"/>
  </p:normalViewPr>
  <p:slideViewPr>
    <p:cSldViewPr snapToGrid="0" showGuides="1">
      <p:cViewPr>
        <p:scale>
          <a:sx n="100" d="100"/>
          <a:sy n="100" d="100"/>
        </p:scale>
        <p:origin x="912" y="43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47" Type="http://schemas.openxmlformats.org/officeDocument/2006/relationships/customXml" Target="../customXml/item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45"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ustomXml" Target="../customXml/item3.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48" Type="http://schemas.openxmlformats.org/officeDocument/2006/relationships/customXml" Target="../customXml/item2.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9.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lette Simon" userId="f8e6e685-e2ee-4044-a307-57648a3e1d7f" providerId="ADAL" clId="{E743E4AA-11AD-4765-83A7-99ECEACBDB7B}"/>
    <pc:docChg chg="undo custSel modSld">
      <pc:chgData name="Arlette Simon" userId="f8e6e685-e2ee-4044-a307-57648a3e1d7f" providerId="ADAL" clId="{E743E4AA-11AD-4765-83A7-99ECEACBDB7B}" dt="2025-11-19T09:04:57.269" v="396" actId="207"/>
      <pc:docMkLst>
        <pc:docMk/>
      </pc:docMkLst>
      <pc:sldChg chg="addSp delSp modSp mod chgLayout">
        <pc:chgData name="Arlette Simon" userId="f8e6e685-e2ee-4044-a307-57648a3e1d7f" providerId="ADAL" clId="{E743E4AA-11AD-4765-83A7-99ECEACBDB7B}" dt="2025-11-19T08:37:00.168" v="0" actId="6264"/>
        <pc:sldMkLst>
          <pc:docMk/>
          <pc:sldMk cId="2935408139" sldId="256"/>
        </pc:sldMkLst>
        <pc:spChg chg="mod ord">
          <ac:chgData name="Arlette Simon" userId="f8e6e685-e2ee-4044-a307-57648a3e1d7f" providerId="ADAL" clId="{E743E4AA-11AD-4765-83A7-99ECEACBDB7B}" dt="2025-11-19T08:37:00.168" v="0" actId="6264"/>
          <ac:spMkLst>
            <pc:docMk/>
            <pc:sldMk cId="2935408139" sldId="256"/>
            <ac:spMk id="2" creationId="{D582FBE2-C18A-BE0E-F69F-3A8FC1522847}"/>
          </ac:spMkLst>
        </pc:spChg>
        <pc:spChg chg="add del mod">
          <ac:chgData name="Arlette Simon" userId="f8e6e685-e2ee-4044-a307-57648a3e1d7f" providerId="ADAL" clId="{E743E4AA-11AD-4765-83A7-99ECEACBDB7B}" dt="2025-11-19T08:37:00.168" v="0" actId="6264"/>
          <ac:spMkLst>
            <pc:docMk/>
            <pc:sldMk cId="2935408139" sldId="256"/>
            <ac:spMk id="3" creationId="{E7E45B86-233F-5F01-84A4-03009D323FA3}"/>
          </ac:spMkLst>
        </pc:spChg>
        <pc:spChg chg="add mod ord">
          <ac:chgData name="Arlette Simon" userId="f8e6e685-e2ee-4044-a307-57648a3e1d7f" providerId="ADAL" clId="{E743E4AA-11AD-4765-83A7-99ECEACBDB7B}" dt="2025-11-19T08:37:00.168" v="0" actId="6264"/>
          <ac:spMkLst>
            <pc:docMk/>
            <pc:sldMk cId="2935408139" sldId="256"/>
            <ac:spMk id="4" creationId="{AAF246C1-6595-EAC0-292B-057A0BC9697A}"/>
          </ac:spMkLst>
        </pc:spChg>
      </pc:sldChg>
      <pc:sldChg chg="addSp delSp modSp mod chgLayout">
        <pc:chgData name="Arlette Simon" userId="f8e6e685-e2ee-4044-a307-57648a3e1d7f" providerId="ADAL" clId="{E743E4AA-11AD-4765-83A7-99ECEACBDB7B}" dt="2025-11-19T08:37:45.916" v="8" actId="207"/>
        <pc:sldMkLst>
          <pc:docMk/>
          <pc:sldMk cId="773821029" sldId="257"/>
        </pc:sldMkLst>
        <pc:spChg chg="mod ord">
          <ac:chgData name="Arlette Simon" userId="f8e6e685-e2ee-4044-a307-57648a3e1d7f" providerId="ADAL" clId="{E743E4AA-11AD-4765-83A7-99ECEACBDB7B}" dt="2025-11-19T08:37:17.729" v="6" actId="6264"/>
          <ac:spMkLst>
            <pc:docMk/>
            <pc:sldMk cId="773821029" sldId="257"/>
            <ac:spMk id="2" creationId="{5EAA8A71-9731-F8D8-9564-D2B9F2AE32FD}"/>
          </ac:spMkLst>
        </pc:spChg>
        <pc:spChg chg="mod ord">
          <ac:chgData name="Arlette Simon" userId="f8e6e685-e2ee-4044-a307-57648a3e1d7f" providerId="ADAL" clId="{E743E4AA-11AD-4765-83A7-99ECEACBDB7B}" dt="2025-11-19T08:37:17.729" v="6" actId="6264"/>
          <ac:spMkLst>
            <pc:docMk/>
            <pc:sldMk cId="773821029" sldId="257"/>
            <ac:spMk id="3" creationId="{BDADE9B0-681D-39EA-74BB-70117DA80210}"/>
          </ac:spMkLst>
        </pc:spChg>
        <pc:spChg chg="mod ord">
          <ac:chgData name="Arlette Simon" userId="f8e6e685-e2ee-4044-a307-57648a3e1d7f" providerId="ADAL" clId="{E743E4AA-11AD-4765-83A7-99ECEACBDB7B}" dt="2025-11-19T08:37:17.729" v="6" actId="6264"/>
          <ac:spMkLst>
            <pc:docMk/>
            <pc:sldMk cId="773821029" sldId="257"/>
            <ac:spMk id="4" creationId="{D8DD2DC5-E55D-B9C8-4933-B0B3023E92CC}"/>
          </ac:spMkLst>
        </pc:spChg>
        <pc:spChg chg="add del mod">
          <ac:chgData name="Arlette Simon" userId="f8e6e685-e2ee-4044-a307-57648a3e1d7f" providerId="ADAL" clId="{E743E4AA-11AD-4765-83A7-99ECEACBDB7B}" dt="2025-11-19T08:37:17.729" v="6" actId="6264"/>
          <ac:spMkLst>
            <pc:docMk/>
            <pc:sldMk cId="773821029" sldId="257"/>
            <ac:spMk id="5" creationId="{41309639-8D9F-304B-E6A3-034B4E22B7B6}"/>
          </ac:spMkLst>
        </pc:spChg>
        <pc:spChg chg="mod ord">
          <ac:chgData name="Arlette Simon" userId="f8e6e685-e2ee-4044-a307-57648a3e1d7f" providerId="ADAL" clId="{E743E4AA-11AD-4765-83A7-99ECEACBDB7B}" dt="2025-11-19T08:37:45.916" v="8" actId="207"/>
          <ac:spMkLst>
            <pc:docMk/>
            <pc:sldMk cId="773821029" sldId="257"/>
            <ac:spMk id="6" creationId="{092FF1F2-C0C2-8390-08DC-A04BD535897E}"/>
          </ac:spMkLst>
        </pc:spChg>
        <pc:spChg chg="add del mod">
          <ac:chgData name="Arlette Simon" userId="f8e6e685-e2ee-4044-a307-57648a3e1d7f" providerId="ADAL" clId="{E743E4AA-11AD-4765-83A7-99ECEACBDB7B}" dt="2025-11-19T08:37:17.729" v="6" actId="6264"/>
          <ac:spMkLst>
            <pc:docMk/>
            <pc:sldMk cId="773821029" sldId="257"/>
            <ac:spMk id="7" creationId="{32694AD8-921D-9881-2151-BFA02D0CCE56}"/>
          </ac:spMkLst>
        </pc:spChg>
        <pc:spChg chg="add del mod">
          <ac:chgData name="Arlette Simon" userId="f8e6e685-e2ee-4044-a307-57648a3e1d7f" providerId="ADAL" clId="{E743E4AA-11AD-4765-83A7-99ECEACBDB7B}" dt="2025-11-19T08:37:17.729" v="6" actId="6264"/>
          <ac:spMkLst>
            <pc:docMk/>
            <pc:sldMk cId="773821029" sldId="257"/>
            <ac:spMk id="8" creationId="{C919D459-7B97-B6F2-D83A-84CEAF9BAAB5}"/>
          </ac:spMkLst>
        </pc:spChg>
        <pc:spChg chg="add del mod">
          <ac:chgData name="Arlette Simon" userId="f8e6e685-e2ee-4044-a307-57648a3e1d7f" providerId="ADAL" clId="{E743E4AA-11AD-4765-83A7-99ECEACBDB7B}" dt="2025-11-19T08:37:17.729" v="6" actId="6264"/>
          <ac:spMkLst>
            <pc:docMk/>
            <pc:sldMk cId="773821029" sldId="257"/>
            <ac:spMk id="9" creationId="{61719F39-2556-66A8-ABC2-277F936B95AF}"/>
          </ac:spMkLst>
        </pc:spChg>
      </pc:sldChg>
      <pc:sldChg chg="modSp mod">
        <pc:chgData name="Arlette Simon" userId="f8e6e685-e2ee-4044-a307-57648a3e1d7f" providerId="ADAL" clId="{E743E4AA-11AD-4765-83A7-99ECEACBDB7B}" dt="2025-11-19T08:59:09.029" v="337" actId="1035"/>
        <pc:sldMkLst>
          <pc:docMk/>
          <pc:sldMk cId="2612826734" sldId="258"/>
        </pc:sldMkLst>
        <pc:graphicFrameChg chg="mod modGraphic">
          <ac:chgData name="Arlette Simon" userId="f8e6e685-e2ee-4044-a307-57648a3e1d7f" providerId="ADAL" clId="{E743E4AA-11AD-4765-83A7-99ECEACBDB7B}" dt="2025-11-19T08:59:09.029" v="337" actId="1035"/>
          <ac:graphicFrameMkLst>
            <pc:docMk/>
            <pc:sldMk cId="2612826734" sldId="258"/>
            <ac:graphicFrameMk id="7" creationId="{F654C7AB-8C15-1699-6111-71663F8FA655}"/>
          </ac:graphicFrameMkLst>
        </pc:graphicFrameChg>
      </pc:sldChg>
      <pc:sldChg chg="addSp delSp modSp mod chgLayout">
        <pc:chgData name="Arlette Simon" userId="f8e6e685-e2ee-4044-a307-57648a3e1d7f" providerId="ADAL" clId="{E743E4AA-11AD-4765-83A7-99ECEACBDB7B}" dt="2025-11-19T08:48:03.864" v="143" actId="20577"/>
        <pc:sldMkLst>
          <pc:docMk/>
          <pc:sldMk cId="1470730343" sldId="264"/>
        </pc:sldMkLst>
        <pc:spChg chg="mod ord">
          <ac:chgData name="Arlette Simon" userId="f8e6e685-e2ee-4044-a307-57648a3e1d7f" providerId="ADAL" clId="{E743E4AA-11AD-4765-83A7-99ECEACBDB7B}" dt="2025-11-19T08:47:36.614" v="138" actId="20577"/>
          <ac:spMkLst>
            <pc:docMk/>
            <pc:sldMk cId="1470730343" sldId="264"/>
            <ac:spMk id="2" creationId="{C4CCF960-CB56-871D-1078-9F837D2856E4}"/>
          </ac:spMkLst>
        </pc:spChg>
        <pc:spChg chg="mod ord">
          <ac:chgData name="Arlette Simon" userId="f8e6e685-e2ee-4044-a307-57648a3e1d7f" providerId="ADAL" clId="{E743E4AA-11AD-4765-83A7-99ECEACBDB7B}" dt="2025-11-19T08:48:03.864" v="143" actId="20577"/>
          <ac:spMkLst>
            <pc:docMk/>
            <pc:sldMk cId="1470730343" sldId="264"/>
            <ac:spMk id="3" creationId="{FA5888FB-D9FD-2D8E-E1ED-7AF223546348}"/>
          </ac:spMkLst>
        </pc:spChg>
        <pc:spChg chg="mod ord">
          <ac:chgData name="Arlette Simon" userId="f8e6e685-e2ee-4044-a307-57648a3e1d7f" providerId="ADAL" clId="{E743E4AA-11AD-4765-83A7-99ECEACBDB7B}" dt="2025-11-19T08:47:23.899" v="130" actId="6264"/>
          <ac:spMkLst>
            <pc:docMk/>
            <pc:sldMk cId="1470730343" sldId="264"/>
            <ac:spMk id="4" creationId="{5B1198E3-F2DB-4E51-0444-9648BAA4F6EF}"/>
          </ac:spMkLst>
        </pc:spChg>
        <pc:spChg chg="mod ord">
          <ac:chgData name="Arlette Simon" userId="f8e6e685-e2ee-4044-a307-57648a3e1d7f" providerId="ADAL" clId="{E743E4AA-11AD-4765-83A7-99ECEACBDB7B}" dt="2025-11-19T08:47:23.899" v="130" actId="6264"/>
          <ac:spMkLst>
            <pc:docMk/>
            <pc:sldMk cId="1470730343" sldId="264"/>
            <ac:spMk id="5" creationId="{EFE3995A-6D71-EE05-48A3-B7F46D04B3A0}"/>
          </ac:spMkLst>
        </pc:spChg>
        <pc:spChg chg="add del mod">
          <ac:chgData name="Arlette Simon" userId="f8e6e685-e2ee-4044-a307-57648a3e1d7f" providerId="ADAL" clId="{E743E4AA-11AD-4765-83A7-99ECEACBDB7B}" dt="2025-11-19T08:47:23.899" v="130" actId="6264"/>
          <ac:spMkLst>
            <pc:docMk/>
            <pc:sldMk cId="1470730343" sldId="264"/>
            <ac:spMk id="6" creationId="{EBC72F8C-D085-FE7C-E5B0-6B3E8D861713}"/>
          </ac:spMkLst>
        </pc:spChg>
        <pc:spChg chg="add del mod">
          <ac:chgData name="Arlette Simon" userId="f8e6e685-e2ee-4044-a307-57648a3e1d7f" providerId="ADAL" clId="{E743E4AA-11AD-4765-83A7-99ECEACBDB7B}" dt="2025-11-19T08:47:23.899" v="130" actId="6264"/>
          <ac:spMkLst>
            <pc:docMk/>
            <pc:sldMk cId="1470730343" sldId="264"/>
            <ac:spMk id="7" creationId="{B414EAA7-45B1-8D7C-B879-CC77985DED2A}"/>
          </ac:spMkLst>
        </pc:spChg>
        <pc:spChg chg="add del mod">
          <ac:chgData name="Arlette Simon" userId="f8e6e685-e2ee-4044-a307-57648a3e1d7f" providerId="ADAL" clId="{E743E4AA-11AD-4765-83A7-99ECEACBDB7B}" dt="2025-11-19T08:47:23.899" v="130" actId="6264"/>
          <ac:spMkLst>
            <pc:docMk/>
            <pc:sldMk cId="1470730343" sldId="264"/>
            <ac:spMk id="8" creationId="{F1C74EBA-D210-4095-BD05-D0D46BE2F60B}"/>
          </ac:spMkLst>
        </pc:spChg>
        <pc:spChg chg="add del mod">
          <ac:chgData name="Arlette Simon" userId="f8e6e685-e2ee-4044-a307-57648a3e1d7f" providerId="ADAL" clId="{E743E4AA-11AD-4765-83A7-99ECEACBDB7B}" dt="2025-11-19T08:47:23.899" v="130" actId="6264"/>
          <ac:spMkLst>
            <pc:docMk/>
            <pc:sldMk cId="1470730343" sldId="264"/>
            <ac:spMk id="9" creationId="{6E8A8453-4FA0-B5FB-1CF4-FFFFB90283A8}"/>
          </ac:spMkLst>
        </pc:spChg>
      </pc:sldChg>
      <pc:sldChg chg="modSp mod">
        <pc:chgData name="Arlette Simon" userId="f8e6e685-e2ee-4044-a307-57648a3e1d7f" providerId="ADAL" clId="{E743E4AA-11AD-4765-83A7-99ECEACBDB7B}" dt="2025-11-19T08:42:02.073" v="70" actId="2711"/>
        <pc:sldMkLst>
          <pc:docMk/>
          <pc:sldMk cId="43770897" sldId="268"/>
        </pc:sldMkLst>
        <pc:spChg chg="mod">
          <ac:chgData name="Arlette Simon" userId="f8e6e685-e2ee-4044-a307-57648a3e1d7f" providerId="ADAL" clId="{E743E4AA-11AD-4765-83A7-99ECEACBDB7B}" dt="2025-11-19T08:42:02.073" v="70" actId="2711"/>
          <ac:spMkLst>
            <pc:docMk/>
            <pc:sldMk cId="43770897" sldId="268"/>
            <ac:spMk id="5" creationId="{7D5695AC-80AB-9DE4-01A4-A001B4ED3FA8}"/>
          </ac:spMkLst>
        </pc:spChg>
      </pc:sldChg>
      <pc:sldChg chg="addSp delSp modSp mod chgLayout">
        <pc:chgData name="Arlette Simon" userId="f8e6e685-e2ee-4044-a307-57648a3e1d7f" providerId="ADAL" clId="{E743E4AA-11AD-4765-83A7-99ECEACBDB7B}" dt="2025-11-19T08:48:28.602" v="151" actId="20577"/>
        <pc:sldMkLst>
          <pc:docMk/>
          <pc:sldMk cId="655196244" sldId="272"/>
        </pc:sldMkLst>
        <pc:spChg chg="mod ord">
          <ac:chgData name="Arlette Simon" userId="f8e6e685-e2ee-4044-a307-57648a3e1d7f" providerId="ADAL" clId="{E743E4AA-11AD-4765-83A7-99ECEACBDB7B}" dt="2025-11-19T08:48:23.295" v="149" actId="20577"/>
          <ac:spMkLst>
            <pc:docMk/>
            <pc:sldMk cId="655196244" sldId="272"/>
            <ac:spMk id="2" creationId="{F2421FC4-6FFD-D713-DCF0-1430E24821A8}"/>
          </ac:spMkLst>
        </pc:spChg>
        <pc:spChg chg="mod ord">
          <ac:chgData name="Arlette Simon" userId="f8e6e685-e2ee-4044-a307-57648a3e1d7f" providerId="ADAL" clId="{E743E4AA-11AD-4765-83A7-99ECEACBDB7B}" dt="2025-11-19T08:48:16.955" v="145" actId="6264"/>
          <ac:spMkLst>
            <pc:docMk/>
            <pc:sldMk cId="655196244" sldId="272"/>
            <ac:spMk id="3" creationId="{4C16B93A-78E1-C6E9-7627-EC303B403381}"/>
          </ac:spMkLst>
        </pc:spChg>
        <pc:spChg chg="add del mod">
          <ac:chgData name="Arlette Simon" userId="f8e6e685-e2ee-4044-a307-57648a3e1d7f" providerId="ADAL" clId="{E743E4AA-11AD-4765-83A7-99ECEACBDB7B}" dt="2025-11-19T08:48:09.928" v="144" actId="6264"/>
          <ac:spMkLst>
            <pc:docMk/>
            <pc:sldMk cId="655196244" sldId="272"/>
            <ac:spMk id="4" creationId="{E1BF23E2-7EE9-05A9-82F7-0D50DA42D263}"/>
          </ac:spMkLst>
        </pc:spChg>
        <pc:spChg chg="mod ord">
          <ac:chgData name="Arlette Simon" userId="f8e6e685-e2ee-4044-a307-57648a3e1d7f" providerId="ADAL" clId="{E743E4AA-11AD-4765-83A7-99ECEACBDB7B}" dt="2025-11-19T08:48:16.955" v="145" actId="6264"/>
          <ac:spMkLst>
            <pc:docMk/>
            <pc:sldMk cId="655196244" sldId="272"/>
            <ac:spMk id="5" creationId="{84AA7C44-CA56-9708-A126-30183402DF46}"/>
          </ac:spMkLst>
        </pc:spChg>
        <pc:spChg chg="add del mod">
          <ac:chgData name="Arlette Simon" userId="f8e6e685-e2ee-4044-a307-57648a3e1d7f" providerId="ADAL" clId="{E743E4AA-11AD-4765-83A7-99ECEACBDB7B}" dt="2025-11-19T08:48:09.928" v="144" actId="6264"/>
          <ac:spMkLst>
            <pc:docMk/>
            <pc:sldMk cId="655196244" sldId="272"/>
            <ac:spMk id="6" creationId="{8AB2852F-2280-A839-28A5-BD4D3AF23C54}"/>
          </ac:spMkLst>
        </pc:spChg>
        <pc:spChg chg="add del mod">
          <ac:chgData name="Arlette Simon" userId="f8e6e685-e2ee-4044-a307-57648a3e1d7f" providerId="ADAL" clId="{E743E4AA-11AD-4765-83A7-99ECEACBDB7B}" dt="2025-11-19T08:48:09.928" v="144" actId="6264"/>
          <ac:spMkLst>
            <pc:docMk/>
            <pc:sldMk cId="655196244" sldId="272"/>
            <ac:spMk id="7" creationId="{8375693B-D645-EA4F-0A28-63D7DFAE3281}"/>
          </ac:spMkLst>
        </pc:spChg>
        <pc:spChg chg="add del mod">
          <ac:chgData name="Arlette Simon" userId="f8e6e685-e2ee-4044-a307-57648a3e1d7f" providerId="ADAL" clId="{E743E4AA-11AD-4765-83A7-99ECEACBDB7B}" dt="2025-11-19T08:48:09.928" v="144" actId="6264"/>
          <ac:spMkLst>
            <pc:docMk/>
            <pc:sldMk cId="655196244" sldId="272"/>
            <ac:spMk id="8" creationId="{94A19EC0-6A2B-4361-341A-FA8CF2081E48}"/>
          </ac:spMkLst>
        </pc:spChg>
        <pc:spChg chg="add del mod">
          <ac:chgData name="Arlette Simon" userId="f8e6e685-e2ee-4044-a307-57648a3e1d7f" providerId="ADAL" clId="{E743E4AA-11AD-4765-83A7-99ECEACBDB7B}" dt="2025-11-19T08:48:16.955" v="145" actId="6264"/>
          <ac:spMkLst>
            <pc:docMk/>
            <pc:sldMk cId="655196244" sldId="272"/>
            <ac:spMk id="9" creationId="{945E3AD1-9B3F-78B1-F030-BBEB8598C606}"/>
          </ac:spMkLst>
        </pc:spChg>
        <pc:spChg chg="add del mod">
          <ac:chgData name="Arlette Simon" userId="f8e6e685-e2ee-4044-a307-57648a3e1d7f" providerId="ADAL" clId="{E743E4AA-11AD-4765-83A7-99ECEACBDB7B}" dt="2025-11-19T08:48:16.955" v="145" actId="6264"/>
          <ac:spMkLst>
            <pc:docMk/>
            <pc:sldMk cId="655196244" sldId="272"/>
            <ac:spMk id="10" creationId="{A16AEBE6-1D34-B4B9-3BEB-927F2D6FE11C}"/>
          </ac:spMkLst>
        </pc:spChg>
        <pc:spChg chg="add del mod">
          <ac:chgData name="Arlette Simon" userId="f8e6e685-e2ee-4044-a307-57648a3e1d7f" providerId="ADAL" clId="{E743E4AA-11AD-4765-83A7-99ECEACBDB7B}" dt="2025-11-19T08:48:16.955" v="145" actId="6264"/>
          <ac:spMkLst>
            <pc:docMk/>
            <pc:sldMk cId="655196244" sldId="272"/>
            <ac:spMk id="11" creationId="{7B1F391A-8EEF-9AB6-824D-2B6FB1194069}"/>
          </ac:spMkLst>
        </pc:spChg>
        <pc:spChg chg="add del mod">
          <ac:chgData name="Arlette Simon" userId="f8e6e685-e2ee-4044-a307-57648a3e1d7f" providerId="ADAL" clId="{E743E4AA-11AD-4765-83A7-99ECEACBDB7B}" dt="2025-11-19T08:48:16.955" v="145" actId="6264"/>
          <ac:spMkLst>
            <pc:docMk/>
            <pc:sldMk cId="655196244" sldId="272"/>
            <ac:spMk id="12" creationId="{5A6DF054-213A-F26E-C30C-B3EE83B03E91}"/>
          </ac:spMkLst>
        </pc:spChg>
        <pc:spChg chg="mod ord">
          <ac:chgData name="Arlette Simon" userId="f8e6e685-e2ee-4044-a307-57648a3e1d7f" providerId="ADAL" clId="{E743E4AA-11AD-4765-83A7-99ECEACBDB7B}" dt="2025-11-19T08:48:28.602" v="151" actId="20577"/>
          <ac:spMkLst>
            <pc:docMk/>
            <pc:sldMk cId="655196244" sldId="272"/>
            <ac:spMk id="44" creationId="{C90F0FE6-64D6-E832-4770-E2DC6A951EC0}"/>
          </ac:spMkLst>
        </pc:spChg>
      </pc:sldChg>
      <pc:sldChg chg="addSp delSp modSp mod modClrScheme chgLayout">
        <pc:chgData name="Arlette Simon" userId="f8e6e685-e2ee-4044-a307-57648a3e1d7f" providerId="ADAL" clId="{E743E4AA-11AD-4765-83A7-99ECEACBDB7B}" dt="2025-11-19T09:00:42.680" v="350" actId="2711"/>
        <pc:sldMkLst>
          <pc:docMk/>
          <pc:sldMk cId="2315983693" sldId="273"/>
        </pc:sldMkLst>
        <pc:spChg chg="mod ord">
          <ac:chgData name="Arlette Simon" userId="f8e6e685-e2ee-4044-a307-57648a3e1d7f" providerId="ADAL" clId="{E743E4AA-11AD-4765-83A7-99ECEACBDB7B}" dt="2025-11-19T09:00:42.680" v="350" actId="2711"/>
          <ac:spMkLst>
            <pc:docMk/>
            <pc:sldMk cId="2315983693" sldId="273"/>
            <ac:spMk id="2" creationId="{49DEE0E5-A3CA-AB00-8B54-2BBFC8DF4D2B}"/>
          </ac:spMkLst>
        </pc:spChg>
        <pc:spChg chg="add del mod ord">
          <ac:chgData name="Arlette Simon" userId="f8e6e685-e2ee-4044-a307-57648a3e1d7f" providerId="ADAL" clId="{E743E4AA-11AD-4765-83A7-99ECEACBDB7B}" dt="2025-11-19T09:00:14.705" v="343" actId="700"/>
          <ac:spMkLst>
            <pc:docMk/>
            <pc:sldMk cId="2315983693" sldId="273"/>
            <ac:spMk id="3" creationId="{7967164B-71FB-5756-809B-E6C1196FEB8B}"/>
          </ac:spMkLst>
        </pc:spChg>
        <pc:spChg chg="add del mod">
          <ac:chgData name="Arlette Simon" userId="f8e6e685-e2ee-4044-a307-57648a3e1d7f" providerId="ADAL" clId="{E743E4AA-11AD-4765-83A7-99ECEACBDB7B}" dt="2025-11-19T08:48:37.502" v="152" actId="6264"/>
          <ac:spMkLst>
            <pc:docMk/>
            <pc:sldMk cId="2315983693" sldId="273"/>
            <ac:spMk id="4" creationId="{A5C6A83F-3586-FAF6-EDF1-60C97B793377}"/>
          </ac:spMkLst>
        </pc:spChg>
        <pc:spChg chg="mod ord">
          <ac:chgData name="Arlette Simon" userId="f8e6e685-e2ee-4044-a307-57648a3e1d7f" providerId="ADAL" clId="{E743E4AA-11AD-4765-83A7-99ECEACBDB7B}" dt="2025-11-19T09:00:14.705" v="343" actId="700"/>
          <ac:spMkLst>
            <pc:docMk/>
            <pc:sldMk cId="2315983693" sldId="273"/>
            <ac:spMk id="5" creationId="{3CFE2F85-350A-1B31-A0C5-AED0CBDB3A99}"/>
          </ac:spMkLst>
        </pc:spChg>
        <pc:spChg chg="add del mod">
          <ac:chgData name="Arlette Simon" userId="f8e6e685-e2ee-4044-a307-57648a3e1d7f" providerId="ADAL" clId="{E743E4AA-11AD-4765-83A7-99ECEACBDB7B}" dt="2025-11-19T08:48:37.502" v="152" actId="6264"/>
          <ac:spMkLst>
            <pc:docMk/>
            <pc:sldMk cId="2315983693" sldId="273"/>
            <ac:spMk id="6" creationId="{D21B325D-94E9-92A0-9CCE-5F2A4E8C4928}"/>
          </ac:spMkLst>
        </pc:spChg>
        <pc:spChg chg="add del mod">
          <ac:chgData name="Arlette Simon" userId="f8e6e685-e2ee-4044-a307-57648a3e1d7f" providerId="ADAL" clId="{E743E4AA-11AD-4765-83A7-99ECEACBDB7B}" dt="2025-11-19T08:48:37.502" v="152" actId="6264"/>
          <ac:spMkLst>
            <pc:docMk/>
            <pc:sldMk cId="2315983693" sldId="273"/>
            <ac:spMk id="7" creationId="{C760D225-2BFB-CB7C-8037-0FC5B2C56407}"/>
          </ac:spMkLst>
        </pc:spChg>
        <pc:spChg chg="add mod ord">
          <ac:chgData name="Arlette Simon" userId="f8e6e685-e2ee-4044-a307-57648a3e1d7f" providerId="ADAL" clId="{E743E4AA-11AD-4765-83A7-99ECEACBDB7B}" dt="2025-11-19T09:00:20.679" v="344" actId="1076"/>
          <ac:spMkLst>
            <pc:docMk/>
            <pc:sldMk cId="2315983693" sldId="273"/>
            <ac:spMk id="8" creationId="{8EC1020C-6F96-F30C-F24E-9A74F97CF971}"/>
          </ac:spMkLst>
        </pc:spChg>
      </pc:sldChg>
      <pc:sldChg chg="addSp delSp modSp mod chgLayout">
        <pc:chgData name="Arlette Simon" userId="f8e6e685-e2ee-4044-a307-57648a3e1d7f" providerId="ADAL" clId="{E743E4AA-11AD-4765-83A7-99ECEACBDB7B}" dt="2025-11-19T08:49:29.980" v="167" actId="404"/>
        <pc:sldMkLst>
          <pc:docMk/>
          <pc:sldMk cId="3262411080" sldId="274"/>
        </pc:sldMkLst>
        <pc:spChg chg="mod ord">
          <ac:chgData name="Arlette Simon" userId="f8e6e685-e2ee-4044-a307-57648a3e1d7f" providerId="ADAL" clId="{E743E4AA-11AD-4765-83A7-99ECEACBDB7B}" dt="2025-11-19T08:49:06.704" v="161" actId="6264"/>
          <ac:spMkLst>
            <pc:docMk/>
            <pc:sldMk cId="3262411080" sldId="274"/>
            <ac:spMk id="2" creationId="{E72A0CAB-F069-D677-EAC6-8E28D82C052D}"/>
          </ac:spMkLst>
        </pc:spChg>
        <pc:spChg chg="mod ord">
          <ac:chgData name="Arlette Simon" userId="f8e6e685-e2ee-4044-a307-57648a3e1d7f" providerId="ADAL" clId="{E743E4AA-11AD-4765-83A7-99ECEACBDB7B}" dt="2025-11-19T08:49:06.704" v="161" actId="6264"/>
          <ac:spMkLst>
            <pc:docMk/>
            <pc:sldMk cId="3262411080" sldId="274"/>
            <ac:spMk id="3" creationId="{361218B8-0E88-B3A8-B331-21E7675D6602}"/>
          </ac:spMkLst>
        </pc:spChg>
        <pc:spChg chg="add del mod">
          <ac:chgData name="Arlette Simon" userId="f8e6e685-e2ee-4044-a307-57648a3e1d7f" providerId="ADAL" clId="{E743E4AA-11AD-4765-83A7-99ECEACBDB7B}" dt="2025-11-19T08:49:06.704" v="161" actId="6264"/>
          <ac:spMkLst>
            <pc:docMk/>
            <pc:sldMk cId="3262411080" sldId="274"/>
            <ac:spMk id="4" creationId="{0344802B-DF30-E7FB-69EC-74B8AD0ACD86}"/>
          </ac:spMkLst>
        </pc:spChg>
        <pc:spChg chg="mod ord">
          <ac:chgData name="Arlette Simon" userId="f8e6e685-e2ee-4044-a307-57648a3e1d7f" providerId="ADAL" clId="{E743E4AA-11AD-4765-83A7-99ECEACBDB7B}" dt="2025-11-19T08:49:06.704" v="161" actId="6264"/>
          <ac:spMkLst>
            <pc:docMk/>
            <pc:sldMk cId="3262411080" sldId="274"/>
            <ac:spMk id="5" creationId="{1216FA4A-258E-7525-A5AB-3A878E5A01D1}"/>
          </ac:spMkLst>
        </pc:spChg>
        <pc:spChg chg="add del mod">
          <ac:chgData name="Arlette Simon" userId="f8e6e685-e2ee-4044-a307-57648a3e1d7f" providerId="ADAL" clId="{E743E4AA-11AD-4765-83A7-99ECEACBDB7B}" dt="2025-11-19T08:49:06.704" v="161" actId="6264"/>
          <ac:spMkLst>
            <pc:docMk/>
            <pc:sldMk cId="3262411080" sldId="274"/>
            <ac:spMk id="6" creationId="{A28DE626-D5EC-67B2-2BDE-DE10DC016DB9}"/>
          </ac:spMkLst>
        </pc:spChg>
        <pc:spChg chg="add del mod">
          <ac:chgData name="Arlette Simon" userId="f8e6e685-e2ee-4044-a307-57648a3e1d7f" providerId="ADAL" clId="{E743E4AA-11AD-4765-83A7-99ECEACBDB7B}" dt="2025-11-19T08:49:06.704" v="161" actId="6264"/>
          <ac:spMkLst>
            <pc:docMk/>
            <pc:sldMk cId="3262411080" sldId="274"/>
            <ac:spMk id="7" creationId="{5D494118-2A77-5111-C50B-4EA9060FDEE3}"/>
          </ac:spMkLst>
        </pc:spChg>
        <pc:spChg chg="add del mod">
          <ac:chgData name="Arlette Simon" userId="f8e6e685-e2ee-4044-a307-57648a3e1d7f" providerId="ADAL" clId="{E743E4AA-11AD-4765-83A7-99ECEACBDB7B}" dt="2025-11-19T08:49:06.704" v="161" actId="6264"/>
          <ac:spMkLst>
            <pc:docMk/>
            <pc:sldMk cId="3262411080" sldId="274"/>
            <ac:spMk id="8" creationId="{B03A8B1F-6B74-7694-CA5E-D97061820BEB}"/>
          </ac:spMkLst>
        </pc:spChg>
        <pc:spChg chg="mod ord">
          <ac:chgData name="Arlette Simon" userId="f8e6e685-e2ee-4044-a307-57648a3e1d7f" providerId="ADAL" clId="{E743E4AA-11AD-4765-83A7-99ECEACBDB7B}" dt="2025-11-19T08:49:29.980" v="167" actId="404"/>
          <ac:spMkLst>
            <pc:docMk/>
            <pc:sldMk cId="3262411080" sldId="274"/>
            <ac:spMk id="44" creationId="{9A418C19-376E-9D9B-BB68-8A88A84ED3A7}"/>
          </ac:spMkLst>
        </pc:spChg>
      </pc:sldChg>
      <pc:sldChg chg="addSp delSp modSp mod chgLayout">
        <pc:chgData name="Arlette Simon" userId="f8e6e685-e2ee-4044-a307-57648a3e1d7f" providerId="ADAL" clId="{E743E4AA-11AD-4765-83A7-99ECEACBDB7B}" dt="2025-11-19T08:49:46.781" v="170" actId="1076"/>
        <pc:sldMkLst>
          <pc:docMk/>
          <pc:sldMk cId="4019117843" sldId="275"/>
        </pc:sldMkLst>
        <pc:spChg chg="mod ord">
          <ac:chgData name="Arlette Simon" userId="f8e6e685-e2ee-4044-a307-57648a3e1d7f" providerId="ADAL" clId="{E743E4AA-11AD-4765-83A7-99ECEACBDB7B}" dt="2025-11-19T08:49:39.970" v="168" actId="6264"/>
          <ac:spMkLst>
            <pc:docMk/>
            <pc:sldMk cId="4019117843" sldId="275"/>
            <ac:spMk id="2" creationId="{D8D90EF6-690D-C0C3-BBA3-A14F4C0AF044}"/>
          </ac:spMkLst>
        </pc:spChg>
        <pc:spChg chg="mod ord">
          <ac:chgData name="Arlette Simon" userId="f8e6e685-e2ee-4044-a307-57648a3e1d7f" providerId="ADAL" clId="{E743E4AA-11AD-4765-83A7-99ECEACBDB7B}" dt="2025-11-19T08:49:39.970" v="168" actId="6264"/>
          <ac:spMkLst>
            <pc:docMk/>
            <pc:sldMk cId="4019117843" sldId="275"/>
            <ac:spMk id="3" creationId="{3DE77C6C-72C0-B1E1-775C-FA6C6AD68AC3}"/>
          </ac:spMkLst>
        </pc:spChg>
        <pc:spChg chg="add del mod">
          <ac:chgData name="Arlette Simon" userId="f8e6e685-e2ee-4044-a307-57648a3e1d7f" providerId="ADAL" clId="{E743E4AA-11AD-4765-83A7-99ECEACBDB7B}" dt="2025-11-19T08:49:39.970" v="168" actId="6264"/>
          <ac:spMkLst>
            <pc:docMk/>
            <pc:sldMk cId="4019117843" sldId="275"/>
            <ac:spMk id="4" creationId="{C87F70E5-8386-F345-9E42-24FEAEB7266D}"/>
          </ac:spMkLst>
        </pc:spChg>
        <pc:spChg chg="mod ord">
          <ac:chgData name="Arlette Simon" userId="f8e6e685-e2ee-4044-a307-57648a3e1d7f" providerId="ADAL" clId="{E743E4AA-11AD-4765-83A7-99ECEACBDB7B}" dt="2025-11-19T08:49:39.970" v="168" actId="6264"/>
          <ac:spMkLst>
            <pc:docMk/>
            <pc:sldMk cId="4019117843" sldId="275"/>
            <ac:spMk id="5" creationId="{8B062CA2-D48D-260D-53A8-404DCD7EDDF8}"/>
          </ac:spMkLst>
        </pc:spChg>
        <pc:spChg chg="add del mod">
          <ac:chgData name="Arlette Simon" userId="f8e6e685-e2ee-4044-a307-57648a3e1d7f" providerId="ADAL" clId="{E743E4AA-11AD-4765-83A7-99ECEACBDB7B}" dt="2025-11-19T08:49:39.970" v="168" actId="6264"/>
          <ac:spMkLst>
            <pc:docMk/>
            <pc:sldMk cId="4019117843" sldId="275"/>
            <ac:spMk id="6" creationId="{4ACF4D5D-12BF-D9DD-1483-A7646AF8D1A0}"/>
          </ac:spMkLst>
        </pc:spChg>
        <pc:spChg chg="add del mod">
          <ac:chgData name="Arlette Simon" userId="f8e6e685-e2ee-4044-a307-57648a3e1d7f" providerId="ADAL" clId="{E743E4AA-11AD-4765-83A7-99ECEACBDB7B}" dt="2025-11-19T08:49:39.970" v="168" actId="6264"/>
          <ac:spMkLst>
            <pc:docMk/>
            <pc:sldMk cId="4019117843" sldId="275"/>
            <ac:spMk id="7" creationId="{E03595D3-CA73-79F2-AA72-6C76C1F649AC}"/>
          </ac:spMkLst>
        </pc:spChg>
        <pc:spChg chg="add del mod">
          <ac:chgData name="Arlette Simon" userId="f8e6e685-e2ee-4044-a307-57648a3e1d7f" providerId="ADAL" clId="{E743E4AA-11AD-4765-83A7-99ECEACBDB7B}" dt="2025-11-19T08:49:39.970" v="168" actId="6264"/>
          <ac:spMkLst>
            <pc:docMk/>
            <pc:sldMk cId="4019117843" sldId="275"/>
            <ac:spMk id="8" creationId="{E255799E-6212-C4F5-246F-17FD6E537AC2}"/>
          </ac:spMkLst>
        </pc:spChg>
        <pc:spChg chg="mod ord">
          <ac:chgData name="Arlette Simon" userId="f8e6e685-e2ee-4044-a307-57648a3e1d7f" providerId="ADAL" clId="{E743E4AA-11AD-4765-83A7-99ECEACBDB7B}" dt="2025-11-19T08:49:46.781" v="170" actId="1076"/>
          <ac:spMkLst>
            <pc:docMk/>
            <pc:sldMk cId="4019117843" sldId="275"/>
            <ac:spMk id="44" creationId="{6B7498ED-A69F-28F7-077C-75948F608F7F}"/>
          </ac:spMkLst>
        </pc:spChg>
      </pc:sldChg>
      <pc:sldChg chg="modSp mod">
        <pc:chgData name="Arlette Simon" userId="f8e6e685-e2ee-4044-a307-57648a3e1d7f" providerId="ADAL" clId="{E743E4AA-11AD-4765-83A7-99ECEACBDB7B}" dt="2025-11-19T08:57:06.453" v="302" actId="1076"/>
        <pc:sldMkLst>
          <pc:docMk/>
          <pc:sldMk cId="3019238482" sldId="276"/>
        </pc:sldMkLst>
        <pc:spChg chg="mod">
          <ac:chgData name="Arlette Simon" userId="f8e6e685-e2ee-4044-a307-57648a3e1d7f" providerId="ADAL" clId="{E743E4AA-11AD-4765-83A7-99ECEACBDB7B}" dt="2025-11-19T08:57:06.453" v="302" actId="1076"/>
          <ac:spMkLst>
            <pc:docMk/>
            <pc:sldMk cId="3019238482" sldId="276"/>
            <ac:spMk id="2" creationId="{F27ADD8D-5F7B-85A8-1B16-FE71CFADA3E5}"/>
          </ac:spMkLst>
        </pc:spChg>
      </pc:sldChg>
      <pc:sldChg chg="addSp delSp modSp mod chgLayout">
        <pc:chgData name="Arlette Simon" userId="f8e6e685-e2ee-4044-a307-57648a3e1d7f" providerId="ADAL" clId="{E743E4AA-11AD-4765-83A7-99ECEACBDB7B}" dt="2025-11-19T08:51:03.284" v="205" actId="1035"/>
        <pc:sldMkLst>
          <pc:docMk/>
          <pc:sldMk cId="3310834107" sldId="278"/>
        </pc:sldMkLst>
        <pc:spChg chg="mod ord">
          <ac:chgData name="Arlette Simon" userId="f8e6e685-e2ee-4044-a307-57648a3e1d7f" providerId="ADAL" clId="{E743E4AA-11AD-4765-83A7-99ECEACBDB7B}" dt="2025-11-19T08:50:36.250" v="181" actId="6264"/>
          <ac:spMkLst>
            <pc:docMk/>
            <pc:sldMk cId="3310834107" sldId="278"/>
            <ac:spMk id="2" creationId="{B2A44F4F-4226-8D0B-58E7-37A956D92318}"/>
          </ac:spMkLst>
        </pc:spChg>
        <pc:spChg chg="mod ord">
          <ac:chgData name="Arlette Simon" userId="f8e6e685-e2ee-4044-a307-57648a3e1d7f" providerId="ADAL" clId="{E743E4AA-11AD-4765-83A7-99ECEACBDB7B}" dt="2025-11-19T08:50:36.250" v="181" actId="6264"/>
          <ac:spMkLst>
            <pc:docMk/>
            <pc:sldMk cId="3310834107" sldId="278"/>
            <ac:spMk id="3" creationId="{41D27AAB-E008-5027-3708-34FB95A76E3C}"/>
          </ac:spMkLst>
        </pc:spChg>
        <pc:spChg chg="add del mod">
          <ac:chgData name="Arlette Simon" userId="f8e6e685-e2ee-4044-a307-57648a3e1d7f" providerId="ADAL" clId="{E743E4AA-11AD-4765-83A7-99ECEACBDB7B}" dt="2025-11-19T08:50:36.250" v="181" actId="6264"/>
          <ac:spMkLst>
            <pc:docMk/>
            <pc:sldMk cId="3310834107" sldId="278"/>
            <ac:spMk id="4" creationId="{887610E2-C016-09C7-F079-B86E888BA54B}"/>
          </ac:spMkLst>
        </pc:spChg>
        <pc:spChg chg="mod ord">
          <ac:chgData name="Arlette Simon" userId="f8e6e685-e2ee-4044-a307-57648a3e1d7f" providerId="ADAL" clId="{E743E4AA-11AD-4765-83A7-99ECEACBDB7B}" dt="2025-11-19T08:50:36.250" v="181" actId="6264"/>
          <ac:spMkLst>
            <pc:docMk/>
            <pc:sldMk cId="3310834107" sldId="278"/>
            <ac:spMk id="5" creationId="{444D6F44-238F-487F-CE41-124CFCC23D2E}"/>
          </ac:spMkLst>
        </pc:spChg>
        <pc:spChg chg="add del mod">
          <ac:chgData name="Arlette Simon" userId="f8e6e685-e2ee-4044-a307-57648a3e1d7f" providerId="ADAL" clId="{E743E4AA-11AD-4765-83A7-99ECEACBDB7B}" dt="2025-11-19T08:50:36.250" v="181" actId="6264"/>
          <ac:spMkLst>
            <pc:docMk/>
            <pc:sldMk cId="3310834107" sldId="278"/>
            <ac:spMk id="6" creationId="{4A9BD1F1-3D6F-15F0-7977-4FB28CE7A4E0}"/>
          </ac:spMkLst>
        </pc:spChg>
        <pc:spChg chg="add del mod">
          <ac:chgData name="Arlette Simon" userId="f8e6e685-e2ee-4044-a307-57648a3e1d7f" providerId="ADAL" clId="{E743E4AA-11AD-4765-83A7-99ECEACBDB7B}" dt="2025-11-19T08:50:36.250" v="181" actId="6264"/>
          <ac:spMkLst>
            <pc:docMk/>
            <pc:sldMk cId="3310834107" sldId="278"/>
            <ac:spMk id="7" creationId="{F047A5B0-40B1-B43E-775A-DD01B26C06CB}"/>
          </ac:spMkLst>
        </pc:spChg>
        <pc:spChg chg="add del mod">
          <ac:chgData name="Arlette Simon" userId="f8e6e685-e2ee-4044-a307-57648a3e1d7f" providerId="ADAL" clId="{E743E4AA-11AD-4765-83A7-99ECEACBDB7B}" dt="2025-11-19T08:50:36.250" v="181" actId="6264"/>
          <ac:spMkLst>
            <pc:docMk/>
            <pc:sldMk cId="3310834107" sldId="278"/>
            <ac:spMk id="8" creationId="{8A34ECDC-4F3F-CB2A-9485-2DC5BC45029F}"/>
          </ac:spMkLst>
        </pc:spChg>
        <pc:spChg chg="mod ord">
          <ac:chgData name="Arlette Simon" userId="f8e6e685-e2ee-4044-a307-57648a3e1d7f" providerId="ADAL" clId="{E743E4AA-11AD-4765-83A7-99ECEACBDB7B}" dt="2025-11-19T08:51:03.284" v="205" actId="1035"/>
          <ac:spMkLst>
            <pc:docMk/>
            <pc:sldMk cId="3310834107" sldId="278"/>
            <ac:spMk id="44" creationId="{80F89F05-5809-3E05-9709-7EDD1DAC1A66}"/>
          </ac:spMkLst>
        </pc:spChg>
      </pc:sldChg>
      <pc:sldChg chg="addSp delSp modSp mod chgLayout">
        <pc:chgData name="Arlette Simon" userId="f8e6e685-e2ee-4044-a307-57648a3e1d7f" providerId="ADAL" clId="{E743E4AA-11AD-4765-83A7-99ECEACBDB7B}" dt="2025-11-19T08:51:32.881" v="213" actId="207"/>
        <pc:sldMkLst>
          <pc:docMk/>
          <pc:sldMk cId="2145554686" sldId="279"/>
        </pc:sldMkLst>
        <pc:spChg chg="mod ord">
          <ac:chgData name="Arlette Simon" userId="f8e6e685-e2ee-4044-a307-57648a3e1d7f" providerId="ADAL" clId="{E743E4AA-11AD-4765-83A7-99ECEACBDB7B}" dt="2025-11-19T08:51:13.727" v="206" actId="6264"/>
          <ac:spMkLst>
            <pc:docMk/>
            <pc:sldMk cId="2145554686" sldId="279"/>
            <ac:spMk id="2" creationId="{61E01A94-F065-9574-0BB1-40AEA63E864E}"/>
          </ac:spMkLst>
        </pc:spChg>
        <pc:spChg chg="mod ord">
          <ac:chgData name="Arlette Simon" userId="f8e6e685-e2ee-4044-a307-57648a3e1d7f" providerId="ADAL" clId="{E743E4AA-11AD-4765-83A7-99ECEACBDB7B}" dt="2025-11-19T08:51:13.727" v="206" actId="6264"/>
          <ac:spMkLst>
            <pc:docMk/>
            <pc:sldMk cId="2145554686" sldId="279"/>
            <ac:spMk id="3" creationId="{AD7F8AD2-0449-7120-4BC7-0CA5C5C136A6}"/>
          </ac:spMkLst>
        </pc:spChg>
        <pc:spChg chg="add del mod">
          <ac:chgData name="Arlette Simon" userId="f8e6e685-e2ee-4044-a307-57648a3e1d7f" providerId="ADAL" clId="{E743E4AA-11AD-4765-83A7-99ECEACBDB7B}" dt="2025-11-19T08:51:13.727" v="206" actId="6264"/>
          <ac:spMkLst>
            <pc:docMk/>
            <pc:sldMk cId="2145554686" sldId="279"/>
            <ac:spMk id="4" creationId="{71D004EC-4E5C-33AA-3D5F-EA5E389A3CAA}"/>
          </ac:spMkLst>
        </pc:spChg>
        <pc:spChg chg="mod ord">
          <ac:chgData name="Arlette Simon" userId="f8e6e685-e2ee-4044-a307-57648a3e1d7f" providerId="ADAL" clId="{E743E4AA-11AD-4765-83A7-99ECEACBDB7B}" dt="2025-11-19T08:51:13.727" v="206" actId="6264"/>
          <ac:spMkLst>
            <pc:docMk/>
            <pc:sldMk cId="2145554686" sldId="279"/>
            <ac:spMk id="5" creationId="{A876F271-8CA8-4949-D037-85F23A769DA8}"/>
          </ac:spMkLst>
        </pc:spChg>
        <pc:spChg chg="add del mod">
          <ac:chgData name="Arlette Simon" userId="f8e6e685-e2ee-4044-a307-57648a3e1d7f" providerId="ADAL" clId="{E743E4AA-11AD-4765-83A7-99ECEACBDB7B}" dt="2025-11-19T08:51:13.727" v="206" actId="6264"/>
          <ac:spMkLst>
            <pc:docMk/>
            <pc:sldMk cId="2145554686" sldId="279"/>
            <ac:spMk id="6" creationId="{A0180D53-57F9-49A1-EF0A-B01769B4BF20}"/>
          </ac:spMkLst>
        </pc:spChg>
        <pc:spChg chg="add del mod">
          <ac:chgData name="Arlette Simon" userId="f8e6e685-e2ee-4044-a307-57648a3e1d7f" providerId="ADAL" clId="{E743E4AA-11AD-4765-83A7-99ECEACBDB7B}" dt="2025-11-19T08:51:13.727" v="206" actId="6264"/>
          <ac:spMkLst>
            <pc:docMk/>
            <pc:sldMk cId="2145554686" sldId="279"/>
            <ac:spMk id="7" creationId="{8791EA6A-09D3-0410-B95C-F7F9C21B5FF7}"/>
          </ac:spMkLst>
        </pc:spChg>
        <pc:spChg chg="add del mod">
          <ac:chgData name="Arlette Simon" userId="f8e6e685-e2ee-4044-a307-57648a3e1d7f" providerId="ADAL" clId="{E743E4AA-11AD-4765-83A7-99ECEACBDB7B}" dt="2025-11-19T08:51:13.727" v="206" actId="6264"/>
          <ac:spMkLst>
            <pc:docMk/>
            <pc:sldMk cId="2145554686" sldId="279"/>
            <ac:spMk id="8" creationId="{78546FF2-6149-4B94-59C6-6EC3FEB95BB6}"/>
          </ac:spMkLst>
        </pc:spChg>
        <pc:spChg chg="mod ord">
          <ac:chgData name="Arlette Simon" userId="f8e6e685-e2ee-4044-a307-57648a3e1d7f" providerId="ADAL" clId="{E743E4AA-11AD-4765-83A7-99ECEACBDB7B}" dt="2025-11-19T08:51:32.881" v="213" actId="207"/>
          <ac:spMkLst>
            <pc:docMk/>
            <pc:sldMk cId="2145554686" sldId="279"/>
            <ac:spMk id="44" creationId="{AD4162D8-A47F-2F06-E5D6-C1A7857AA339}"/>
          </ac:spMkLst>
        </pc:spChg>
      </pc:sldChg>
      <pc:sldChg chg="addSp delSp modSp mod chgLayout">
        <pc:chgData name="Arlette Simon" userId="f8e6e685-e2ee-4044-a307-57648a3e1d7f" providerId="ADAL" clId="{E743E4AA-11AD-4765-83A7-99ECEACBDB7B}" dt="2025-11-19T08:52:34.894" v="232" actId="207"/>
        <pc:sldMkLst>
          <pc:docMk/>
          <pc:sldMk cId="1462687648" sldId="280"/>
        </pc:sldMkLst>
        <pc:spChg chg="mod ord">
          <ac:chgData name="Arlette Simon" userId="f8e6e685-e2ee-4044-a307-57648a3e1d7f" providerId="ADAL" clId="{E743E4AA-11AD-4765-83A7-99ECEACBDB7B}" dt="2025-11-19T08:52:32.207" v="231" actId="6264"/>
          <ac:spMkLst>
            <pc:docMk/>
            <pc:sldMk cId="1462687648" sldId="280"/>
            <ac:spMk id="2" creationId="{AA1BAE84-3F69-B4A5-6796-0AD0FCBE2EFF}"/>
          </ac:spMkLst>
        </pc:spChg>
        <pc:spChg chg="mod ord">
          <ac:chgData name="Arlette Simon" userId="f8e6e685-e2ee-4044-a307-57648a3e1d7f" providerId="ADAL" clId="{E743E4AA-11AD-4765-83A7-99ECEACBDB7B}" dt="2025-11-19T08:52:32.207" v="231" actId="6264"/>
          <ac:spMkLst>
            <pc:docMk/>
            <pc:sldMk cId="1462687648" sldId="280"/>
            <ac:spMk id="3" creationId="{051B5BA0-C5FB-4848-2354-C31EB496C7D5}"/>
          </ac:spMkLst>
        </pc:spChg>
        <pc:spChg chg="add del mod">
          <ac:chgData name="Arlette Simon" userId="f8e6e685-e2ee-4044-a307-57648a3e1d7f" providerId="ADAL" clId="{E743E4AA-11AD-4765-83A7-99ECEACBDB7B}" dt="2025-11-19T08:52:32.207" v="231" actId="6264"/>
          <ac:spMkLst>
            <pc:docMk/>
            <pc:sldMk cId="1462687648" sldId="280"/>
            <ac:spMk id="4" creationId="{08AC6FB8-BD21-EE70-9ACA-C6C64F562F81}"/>
          </ac:spMkLst>
        </pc:spChg>
        <pc:spChg chg="mod ord">
          <ac:chgData name="Arlette Simon" userId="f8e6e685-e2ee-4044-a307-57648a3e1d7f" providerId="ADAL" clId="{E743E4AA-11AD-4765-83A7-99ECEACBDB7B}" dt="2025-11-19T08:52:32.207" v="231" actId="6264"/>
          <ac:spMkLst>
            <pc:docMk/>
            <pc:sldMk cId="1462687648" sldId="280"/>
            <ac:spMk id="5" creationId="{03BCF7A6-A76F-13D6-A23D-EF665A51F50B}"/>
          </ac:spMkLst>
        </pc:spChg>
        <pc:spChg chg="add del mod">
          <ac:chgData name="Arlette Simon" userId="f8e6e685-e2ee-4044-a307-57648a3e1d7f" providerId="ADAL" clId="{E743E4AA-11AD-4765-83A7-99ECEACBDB7B}" dt="2025-11-19T08:52:32.207" v="231" actId="6264"/>
          <ac:spMkLst>
            <pc:docMk/>
            <pc:sldMk cId="1462687648" sldId="280"/>
            <ac:spMk id="6" creationId="{039DF6E2-6F11-999C-8533-657ED027A85F}"/>
          </ac:spMkLst>
        </pc:spChg>
        <pc:spChg chg="add del mod">
          <ac:chgData name="Arlette Simon" userId="f8e6e685-e2ee-4044-a307-57648a3e1d7f" providerId="ADAL" clId="{E743E4AA-11AD-4765-83A7-99ECEACBDB7B}" dt="2025-11-19T08:52:32.207" v="231" actId="6264"/>
          <ac:spMkLst>
            <pc:docMk/>
            <pc:sldMk cId="1462687648" sldId="280"/>
            <ac:spMk id="7" creationId="{D79199F5-1533-E6D3-C38F-4638A142A701}"/>
          </ac:spMkLst>
        </pc:spChg>
        <pc:spChg chg="add del mod">
          <ac:chgData name="Arlette Simon" userId="f8e6e685-e2ee-4044-a307-57648a3e1d7f" providerId="ADAL" clId="{E743E4AA-11AD-4765-83A7-99ECEACBDB7B}" dt="2025-11-19T08:52:32.207" v="231" actId="6264"/>
          <ac:spMkLst>
            <pc:docMk/>
            <pc:sldMk cId="1462687648" sldId="280"/>
            <ac:spMk id="8" creationId="{DFC15E72-BBBF-10E9-CB4D-9CCAEE38CB96}"/>
          </ac:spMkLst>
        </pc:spChg>
        <pc:spChg chg="mod ord">
          <ac:chgData name="Arlette Simon" userId="f8e6e685-e2ee-4044-a307-57648a3e1d7f" providerId="ADAL" clId="{E743E4AA-11AD-4765-83A7-99ECEACBDB7B}" dt="2025-11-19T08:52:34.894" v="232" actId="207"/>
          <ac:spMkLst>
            <pc:docMk/>
            <pc:sldMk cId="1462687648" sldId="280"/>
            <ac:spMk id="44" creationId="{40BBD8DD-F235-088D-E9CC-1B3D19710F12}"/>
          </ac:spMkLst>
        </pc:spChg>
      </pc:sldChg>
      <pc:sldChg chg="addSp delSp modSp mod chgLayout">
        <pc:chgData name="Arlette Simon" userId="f8e6e685-e2ee-4044-a307-57648a3e1d7f" providerId="ADAL" clId="{E743E4AA-11AD-4765-83A7-99ECEACBDB7B}" dt="2025-11-19T08:53:02.760" v="239" actId="113"/>
        <pc:sldMkLst>
          <pc:docMk/>
          <pc:sldMk cId="4129824468" sldId="281"/>
        </pc:sldMkLst>
        <pc:spChg chg="mod ord">
          <ac:chgData name="Arlette Simon" userId="f8e6e685-e2ee-4044-a307-57648a3e1d7f" providerId="ADAL" clId="{E743E4AA-11AD-4765-83A7-99ECEACBDB7B}" dt="2025-11-19T08:52:54.853" v="236" actId="6264"/>
          <ac:spMkLst>
            <pc:docMk/>
            <pc:sldMk cId="4129824468" sldId="281"/>
            <ac:spMk id="2" creationId="{FA23FAD9-8EDC-555B-FF3E-9CEFEA5637F5}"/>
          </ac:spMkLst>
        </pc:spChg>
        <pc:spChg chg="mod ord">
          <ac:chgData name="Arlette Simon" userId="f8e6e685-e2ee-4044-a307-57648a3e1d7f" providerId="ADAL" clId="{E743E4AA-11AD-4765-83A7-99ECEACBDB7B}" dt="2025-11-19T08:52:54.853" v="236" actId="6264"/>
          <ac:spMkLst>
            <pc:docMk/>
            <pc:sldMk cId="4129824468" sldId="281"/>
            <ac:spMk id="3" creationId="{56A8D978-FA8E-293E-B6F3-879E71A67E26}"/>
          </ac:spMkLst>
        </pc:spChg>
        <pc:spChg chg="add del mod">
          <ac:chgData name="Arlette Simon" userId="f8e6e685-e2ee-4044-a307-57648a3e1d7f" providerId="ADAL" clId="{E743E4AA-11AD-4765-83A7-99ECEACBDB7B}" dt="2025-11-19T08:52:45.359" v="233" actId="6264"/>
          <ac:spMkLst>
            <pc:docMk/>
            <pc:sldMk cId="4129824468" sldId="281"/>
            <ac:spMk id="4" creationId="{EBC92142-687D-DF89-94AF-8FE18660CC02}"/>
          </ac:spMkLst>
        </pc:spChg>
        <pc:spChg chg="mod ord">
          <ac:chgData name="Arlette Simon" userId="f8e6e685-e2ee-4044-a307-57648a3e1d7f" providerId="ADAL" clId="{E743E4AA-11AD-4765-83A7-99ECEACBDB7B}" dt="2025-11-19T08:52:54.853" v="236" actId="6264"/>
          <ac:spMkLst>
            <pc:docMk/>
            <pc:sldMk cId="4129824468" sldId="281"/>
            <ac:spMk id="5" creationId="{D6568839-DA19-7DDC-F429-3DC759BEC247}"/>
          </ac:spMkLst>
        </pc:spChg>
        <pc:spChg chg="add del mod">
          <ac:chgData name="Arlette Simon" userId="f8e6e685-e2ee-4044-a307-57648a3e1d7f" providerId="ADAL" clId="{E743E4AA-11AD-4765-83A7-99ECEACBDB7B}" dt="2025-11-19T08:52:45.359" v="233" actId="6264"/>
          <ac:spMkLst>
            <pc:docMk/>
            <pc:sldMk cId="4129824468" sldId="281"/>
            <ac:spMk id="6" creationId="{37E1CBA7-CE95-5363-D71D-3D5D2957D86A}"/>
          </ac:spMkLst>
        </pc:spChg>
        <pc:spChg chg="add del mod">
          <ac:chgData name="Arlette Simon" userId="f8e6e685-e2ee-4044-a307-57648a3e1d7f" providerId="ADAL" clId="{E743E4AA-11AD-4765-83A7-99ECEACBDB7B}" dt="2025-11-19T08:52:45.359" v="233" actId="6264"/>
          <ac:spMkLst>
            <pc:docMk/>
            <pc:sldMk cId="4129824468" sldId="281"/>
            <ac:spMk id="7" creationId="{1ECEEFFE-7A29-62E3-9F18-859A74FAD032}"/>
          </ac:spMkLst>
        </pc:spChg>
        <pc:spChg chg="add del mod">
          <ac:chgData name="Arlette Simon" userId="f8e6e685-e2ee-4044-a307-57648a3e1d7f" providerId="ADAL" clId="{E743E4AA-11AD-4765-83A7-99ECEACBDB7B}" dt="2025-11-19T08:52:45.359" v="233" actId="6264"/>
          <ac:spMkLst>
            <pc:docMk/>
            <pc:sldMk cId="4129824468" sldId="281"/>
            <ac:spMk id="8" creationId="{14984CB8-7B86-6C6E-2BCE-497862D2844B}"/>
          </ac:spMkLst>
        </pc:spChg>
        <pc:spChg chg="add del mod">
          <ac:chgData name="Arlette Simon" userId="f8e6e685-e2ee-4044-a307-57648a3e1d7f" providerId="ADAL" clId="{E743E4AA-11AD-4765-83A7-99ECEACBDB7B}" dt="2025-11-19T08:52:54.853" v="236" actId="6264"/>
          <ac:spMkLst>
            <pc:docMk/>
            <pc:sldMk cId="4129824468" sldId="281"/>
            <ac:spMk id="9" creationId="{194F6A5D-520C-2311-93F6-FDC9F6A7F896}"/>
          </ac:spMkLst>
        </pc:spChg>
        <pc:spChg chg="add del mod">
          <ac:chgData name="Arlette Simon" userId="f8e6e685-e2ee-4044-a307-57648a3e1d7f" providerId="ADAL" clId="{E743E4AA-11AD-4765-83A7-99ECEACBDB7B}" dt="2025-11-19T08:52:54.853" v="236" actId="6264"/>
          <ac:spMkLst>
            <pc:docMk/>
            <pc:sldMk cId="4129824468" sldId="281"/>
            <ac:spMk id="10" creationId="{75CC577B-8E85-B5C0-13FE-99277C3F93FE}"/>
          </ac:spMkLst>
        </pc:spChg>
        <pc:spChg chg="add del mod">
          <ac:chgData name="Arlette Simon" userId="f8e6e685-e2ee-4044-a307-57648a3e1d7f" providerId="ADAL" clId="{E743E4AA-11AD-4765-83A7-99ECEACBDB7B}" dt="2025-11-19T08:52:54.853" v="236" actId="6264"/>
          <ac:spMkLst>
            <pc:docMk/>
            <pc:sldMk cId="4129824468" sldId="281"/>
            <ac:spMk id="11" creationId="{0576BB35-0812-F68C-B798-6B0DAF87D55D}"/>
          </ac:spMkLst>
        </pc:spChg>
        <pc:spChg chg="add del mod">
          <ac:chgData name="Arlette Simon" userId="f8e6e685-e2ee-4044-a307-57648a3e1d7f" providerId="ADAL" clId="{E743E4AA-11AD-4765-83A7-99ECEACBDB7B}" dt="2025-11-19T08:52:54.853" v="236" actId="6264"/>
          <ac:spMkLst>
            <pc:docMk/>
            <pc:sldMk cId="4129824468" sldId="281"/>
            <ac:spMk id="12" creationId="{BDF23C14-B913-F8D3-4D94-46AEFC4CF805}"/>
          </ac:spMkLst>
        </pc:spChg>
        <pc:spChg chg="mod ord">
          <ac:chgData name="Arlette Simon" userId="f8e6e685-e2ee-4044-a307-57648a3e1d7f" providerId="ADAL" clId="{E743E4AA-11AD-4765-83A7-99ECEACBDB7B}" dt="2025-11-19T08:53:02.760" v="239" actId="113"/>
          <ac:spMkLst>
            <pc:docMk/>
            <pc:sldMk cId="4129824468" sldId="281"/>
            <ac:spMk id="44" creationId="{FDEAF2B1-A575-9067-2838-24B8FC044765}"/>
          </ac:spMkLst>
        </pc:spChg>
      </pc:sldChg>
      <pc:sldChg chg="addSp delSp modSp mod modClrScheme chgLayout">
        <pc:chgData name="Arlette Simon" userId="f8e6e685-e2ee-4044-a307-57648a3e1d7f" providerId="ADAL" clId="{E743E4AA-11AD-4765-83A7-99ECEACBDB7B}" dt="2025-11-19T09:01:51.096" v="366" actId="1037"/>
        <pc:sldMkLst>
          <pc:docMk/>
          <pc:sldMk cId="2754678969" sldId="282"/>
        </pc:sldMkLst>
        <pc:spChg chg="mod ord">
          <ac:chgData name="Arlette Simon" userId="f8e6e685-e2ee-4044-a307-57648a3e1d7f" providerId="ADAL" clId="{E743E4AA-11AD-4765-83A7-99ECEACBDB7B}" dt="2025-11-19T09:01:28.937" v="355" actId="6549"/>
          <ac:spMkLst>
            <pc:docMk/>
            <pc:sldMk cId="2754678969" sldId="282"/>
            <ac:spMk id="2" creationId="{FA186DB6-0938-6A91-CA00-496BE36EB5BD}"/>
          </ac:spMkLst>
        </pc:spChg>
        <pc:spChg chg="del mod ord">
          <ac:chgData name="Arlette Simon" userId="f8e6e685-e2ee-4044-a307-57648a3e1d7f" providerId="ADAL" clId="{E743E4AA-11AD-4765-83A7-99ECEACBDB7B}" dt="2025-11-19T09:01:03.779" v="351" actId="700"/>
          <ac:spMkLst>
            <pc:docMk/>
            <pc:sldMk cId="2754678969" sldId="282"/>
            <ac:spMk id="3" creationId="{4B38747E-8A64-B200-A15A-5A1C66FB4ECA}"/>
          </ac:spMkLst>
        </pc:spChg>
        <pc:spChg chg="add del mod">
          <ac:chgData name="Arlette Simon" userId="f8e6e685-e2ee-4044-a307-57648a3e1d7f" providerId="ADAL" clId="{E743E4AA-11AD-4765-83A7-99ECEACBDB7B}" dt="2025-11-19T08:50:09.520" v="171" actId="6264"/>
          <ac:spMkLst>
            <pc:docMk/>
            <pc:sldMk cId="2754678969" sldId="282"/>
            <ac:spMk id="4" creationId="{5FC753B3-6222-7CEB-C292-9F4F6A9CE279}"/>
          </ac:spMkLst>
        </pc:spChg>
        <pc:spChg chg="mod ord">
          <ac:chgData name="Arlette Simon" userId="f8e6e685-e2ee-4044-a307-57648a3e1d7f" providerId="ADAL" clId="{E743E4AA-11AD-4765-83A7-99ECEACBDB7B}" dt="2025-11-19T09:01:03.779" v="351" actId="700"/>
          <ac:spMkLst>
            <pc:docMk/>
            <pc:sldMk cId="2754678969" sldId="282"/>
            <ac:spMk id="5" creationId="{2684BE24-0C2B-E0B4-770E-561F776AB293}"/>
          </ac:spMkLst>
        </pc:spChg>
        <pc:spChg chg="add del mod">
          <ac:chgData name="Arlette Simon" userId="f8e6e685-e2ee-4044-a307-57648a3e1d7f" providerId="ADAL" clId="{E743E4AA-11AD-4765-83A7-99ECEACBDB7B}" dt="2025-11-19T08:50:09.520" v="171" actId="6264"/>
          <ac:spMkLst>
            <pc:docMk/>
            <pc:sldMk cId="2754678969" sldId="282"/>
            <ac:spMk id="6" creationId="{FAEE12BB-E44A-70D7-FFFE-D8BBC29FD537}"/>
          </ac:spMkLst>
        </pc:spChg>
        <pc:spChg chg="add del mod">
          <ac:chgData name="Arlette Simon" userId="f8e6e685-e2ee-4044-a307-57648a3e1d7f" providerId="ADAL" clId="{E743E4AA-11AD-4765-83A7-99ECEACBDB7B}" dt="2025-11-19T08:50:09.520" v="171" actId="6264"/>
          <ac:spMkLst>
            <pc:docMk/>
            <pc:sldMk cId="2754678969" sldId="282"/>
            <ac:spMk id="7" creationId="{09D0D400-06F1-459C-A4E6-E73652CBFF1E}"/>
          </ac:spMkLst>
        </pc:spChg>
        <pc:spChg chg="add mod ord">
          <ac:chgData name="Arlette Simon" userId="f8e6e685-e2ee-4044-a307-57648a3e1d7f" providerId="ADAL" clId="{E743E4AA-11AD-4765-83A7-99ECEACBDB7B}" dt="2025-11-19T09:01:51.096" v="366" actId="1037"/>
          <ac:spMkLst>
            <pc:docMk/>
            <pc:sldMk cId="2754678969" sldId="282"/>
            <ac:spMk id="8" creationId="{21015A58-3373-D605-812C-8CD5A3796F4A}"/>
          </ac:spMkLst>
        </pc:spChg>
        <pc:spChg chg="add del mod">
          <ac:chgData name="Arlette Simon" userId="f8e6e685-e2ee-4044-a307-57648a3e1d7f" providerId="ADAL" clId="{E743E4AA-11AD-4765-83A7-99ECEACBDB7B}" dt="2025-11-19T08:50:17.868" v="175" actId="6264"/>
          <ac:spMkLst>
            <pc:docMk/>
            <pc:sldMk cId="2754678969" sldId="282"/>
            <ac:spMk id="9" creationId="{758E467A-7035-91CC-67E1-44EA4EE8098C}"/>
          </ac:spMkLst>
        </pc:spChg>
        <pc:spChg chg="add del mod">
          <ac:chgData name="Arlette Simon" userId="f8e6e685-e2ee-4044-a307-57648a3e1d7f" providerId="ADAL" clId="{E743E4AA-11AD-4765-83A7-99ECEACBDB7B}" dt="2025-11-19T08:50:17.868" v="175" actId="6264"/>
          <ac:spMkLst>
            <pc:docMk/>
            <pc:sldMk cId="2754678969" sldId="282"/>
            <ac:spMk id="10" creationId="{ACE6E42D-36E9-2CB9-85AB-112E57785E36}"/>
          </ac:spMkLst>
        </pc:spChg>
        <pc:spChg chg="add del mod">
          <ac:chgData name="Arlette Simon" userId="f8e6e685-e2ee-4044-a307-57648a3e1d7f" providerId="ADAL" clId="{E743E4AA-11AD-4765-83A7-99ECEACBDB7B}" dt="2025-11-19T08:50:17.868" v="175" actId="6264"/>
          <ac:spMkLst>
            <pc:docMk/>
            <pc:sldMk cId="2754678969" sldId="282"/>
            <ac:spMk id="11" creationId="{BCEB03D8-AF06-15D2-D3AF-0BCF825C4501}"/>
          </ac:spMkLst>
        </pc:spChg>
        <pc:spChg chg="add del mod">
          <ac:chgData name="Arlette Simon" userId="f8e6e685-e2ee-4044-a307-57648a3e1d7f" providerId="ADAL" clId="{E743E4AA-11AD-4765-83A7-99ECEACBDB7B}" dt="2025-11-19T08:50:17.868" v="175" actId="6264"/>
          <ac:spMkLst>
            <pc:docMk/>
            <pc:sldMk cId="2754678969" sldId="282"/>
            <ac:spMk id="12" creationId="{0BB8D943-10AE-F6BC-9C81-37C9CA5E8854}"/>
          </ac:spMkLst>
        </pc:spChg>
      </pc:sldChg>
      <pc:sldChg chg="addSp delSp modSp mod chgLayout">
        <pc:chgData name="Arlette Simon" userId="f8e6e685-e2ee-4044-a307-57648a3e1d7f" providerId="ADAL" clId="{E743E4AA-11AD-4765-83A7-99ECEACBDB7B}" dt="2025-11-19T09:02:22.170" v="368" actId="313"/>
        <pc:sldMkLst>
          <pc:docMk/>
          <pc:sldMk cId="917733821" sldId="283"/>
        </pc:sldMkLst>
        <pc:spChg chg="mod ord">
          <ac:chgData name="Arlette Simon" userId="f8e6e685-e2ee-4044-a307-57648a3e1d7f" providerId="ADAL" clId="{E743E4AA-11AD-4765-83A7-99ECEACBDB7B}" dt="2025-11-19T09:02:22.170" v="368" actId="313"/>
          <ac:spMkLst>
            <pc:docMk/>
            <pc:sldMk cId="917733821" sldId="283"/>
            <ac:spMk id="2" creationId="{45337190-8A0A-081A-AFBB-50BC2F9270D9}"/>
          </ac:spMkLst>
        </pc:spChg>
        <pc:spChg chg="mod ord">
          <ac:chgData name="Arlette Simon" userId="f8e6e685-e2ee-4044-a307-57648a3e1d7f" providerId="ADAL" clId="{E743E4AA-11AD-4765-83A7-99ECEACBDB7B}" dt="2025-11-19T08:51:47.200" v="214" actId="6264"/>
          <ac:spMkLst>
            <pc:docMk/>
            <pc:sldMk cId="917733821" sldId="283"/>
            <ac:spMk id="3" creationId="{00C6D96F-431A-5CBC-9CEB-44F4CDE44E2D}"/>
          </ac:spMkLst>
        </pc:spChg>
        <pc:spChg chg="add del mod">
          <ac:chgData name="Arlette Simon" userId="f8e6e685-e2ee-4044-a307-57648a3e1d7f" providerId="ADAL" clId="{E743E4AA-11AD-4765-83A7-99ECEACBDB7B}" dt="2025-11-19T08:51:47.200" v="214" actId="6264"/>
          <ac:spMkLst>
            <pc:docMk/>
            <pc:sldMk cId="917733821" sldId="283"/>
            <ac:spMk id="4" creationId="{5B1A2911-80B4-0EF6-C289-662BA4CAA43A}"/>
          </ac:spMkLst>
        </pc:spChg>
        <pc:spChg chg="mod ord">
          <ac:chgData name="Arlette Simon" userId="f8e6e685-e2ee-4044-a307-57648a3e1d7f" providerId="ADAL" clId="{E743E4AA-11AD-4765-83A7-99ECEACBDB7B}" dt="2025-11-19T08:51:47.200" v="214" actId="6264"/>
          <ac:spMkLst>
            <pc:docMk/>
            <pc:sldMk cId="917733821" sldId="283"/>
            <ac:spMk id="5" creationId="{3BEA2D09-1365-5652-3B03-6D346720609E}"/>
          </ac:spMkLst>
        </pc:spChg>
        <pc:spChg chg="add del mod">
          <ac:chgData name="Arlette Simon" userId="f8e6e685-e2ee-4044-a307-57648a3e1d7f" providerId="ADAL" clId="{E743E4AA-11AD-4765-83A7-99ECEACBDB7B}" dt="2025-11-19T08:51:47.200" v="214" actId="6264"/>
          <ac:spMkLst>
            <pc:docMk/>
            <pc:sldMk cId="917733821" sldId="283"/>
            <ac:spMk id="6" creationId="{945CAED9-8294-72B0-6087-EDA95E0E86BA}"/>
          </ac:spMkLst>
        </pc:spChg>
        <pc:spChg chg="add del mod">
          <ac:chgData name="Arlette Simon" userId="f8e6e685-e2ee-4044-a307-57648a3e1d7f" providerId="ADAL" clId="{E743E4AA-11AD-4765-83A7-99ECEACBDB7B}" dt="2025-11-19T08:51:47.200" v="214" actId="6264"/>
          <ac:spMkLst>
            <pc:docMk/>
            <pc:sldMk cId="917733821" sldId="283"/>
            <ac:spMk id="7" creationId="{3F5CCE5D-D999-CD33-31EC-5095C392CE89}"/>
          </ac:spMkLst>
        </pc:spChg>
        <pc:spChg chg="add del mod">
          <ac:chgData name="Arlette Simon" userId="f8e6e685-e2ee-4044-a307-57648a3e1d7f" providerId="ADAL" clId="{E743E4AA-11AD-4765-83A7-99ECEACBDB7B}" dt="2025-11-19T08:51:47.200" v="214" actId="6264"/>
          <ac:spMkLst>
            <pc:docMk/>
            <pc:sldMk cId="917733821" sldId="283"/>
            <ac:spMk id="8" creationId="{36768CB5-91C0-DEE8-4E4E-0E0DB3B16219}"/>
          </ac:spMkLst>
        </pc:spChg>
        <pc:spChg chg="mod ord">
          <ac:chgData name="Arlette Simon" userId="f8e6e685-e2ee-4044-a307-57648a3e1d7f" providerId="ADAL" clId="{E743E4AA-11AD-4765-83A7-99ECEACBDB7B}" dt="2025-11-19T08:51:56.662" v="218" actId="207"/>
          <ac:spMkLst>
            <pc:docMk/>
            <pc:sldMk cId="917733821" sldId="283"/>
            <ac:spMk id="44" creationId="{5A316D1E-169E-3D4F-5FFE-E917C8786526}"/>
          </ac:spMkLst>
        </pc:spChg>
      </pc:sldChg>
      <pc:sldChg chg="addSp delSp modSp mod modClrScheme chgLayout">
        <pc:chgData name="Arlette Simon" userId="f8e6e685-e2ee-4044-a307-57648a3e1d7f" providerId="ADAL" clId="{E743E4AA-11AD-4765-83A7-99ECEACBDB7B}" dt="2025-11-19T09:03:14.302" v="373" actId="14100"/>
        <pc:sldMkLst>
          <pc:docMk/>
          <pc:sldMk cId="1507437794" sldId="284"/>
        </pc:sldMkLst>
        <pc:spChg chg="mod ord">
          <ac:chgData name="Arlette Simon" userId="f8e6e685-e2ee-4044-a307-57648a3e1d7f" providerId="ADAL" clId="{E743E4AA-11AD-4765-83A7-99ECEACBDB7B}" dt="2025-11-19T09:03:07.866" v="371" actId="2711"/>
          <ac:spMkLst>
            <pc:docMk/>
            <pc:sldMk cId="1507437794" sldId="284"/>
            <ac:spMk id="2" creationId="{1440D6C4-75CF-2AA8-4F73-1AABEE141E59}"/>
          </ac:spMkLst>
        </pc:spChg>
        <pc:spChg chg="del mod ord">
          <ac:chgData name="Arlette Simon" userId="f8e6e685-e2ee-4044-a307-57648a3e1d7f" providerId="ADAL" clId="{E743E4AA-11AD-4765-83A7-99ECEACBDB7B}" dt="2025-11-19T09:02:56.401" v="369" actId="700"/>
          <ac:spMkLst>
            <pc:docMk/>
            <pc:sldMk cId="1507437794" sldId="284"/>
            <ac:spMk id="3" creationId="{4B7575D3-1409-D930-FB90-2C2817300750}"/>
          </ac:spMkLst>
        </pc:spChg>
        <pc:spChg chg="add del mod">
          <ac:chgData name="Arlette Simon" userId="f8e6e685-e2ee-4044-a307-57648a3e1d7f" providerId="ADAL" clId="{E743E4AA-11AD-4765-83A7-99ECEACBDB7B}" dt="2025-11-19T08:52:03.272" v="219" actId="6264"/>
          <ac:spMkLst>
            <pc:docMk/>
            <pc:sldMk cId="1507437794" sldId="284"/>
            <ac:spMk id="4" creationId="{A5E7C59E-A7C5-CA0B-5BDD-3743790D2CAC}"/>
          </ac:spMkLst>
        </pc:spChg>
        <pc:spChg chg="mod ord">
          <ac:chgData name="Arlette Simon" userId="f8e6e685-e2ee-4044-a307-57648a3e1d7f" providerId="ADAL" clId="{E743E4AA-11AD-4765-83A7-99ECEACBDB7B}" dt="2025-11-19T09:02:56.401" v="369" actId="700"/>
          <ac:spMkLst>
            <pc:docMk/>
            <pc:sldMk cId="1507437794" sldId="284"/>
            <ac:spMk id="5" creationId="{45711F7D-D16D-9DE8-DE4E-165A0A6CAE93}"/>
          </ac:spMkLst>
        </pc:spChg>
        <pc:spChg chg="add del mod">
          <ac:chgData name="Arlette Simon" userId="f8e6e685-e2ee-4044-a307-57648a3e1d7f" providerId="ADAL" clId="{E743E4AA-11AD-4765-83A7-99ECEACBDB7B}" dt="2025-11-19T08:52:03.272" v="219" actId="6264"/>
          <ac:spMkLst>
            <pc:docMk/>
            <pc:sldMk cId="1507437794" sldId="284"/>
            <ac:spMk id="6" creationId="{D7F8B212-E699-0997-AF94-B5103C8F21C4}"/>
          </ac:spMkLst>
        </pc:spChg>
        <pc:spChg chg="add del mod">
          <ac:chgData name="Arlette Simon" userId="f8e6e685-e2ee-4044-a307-57648a3e1d7f" providerId="ADAL" clId="{E743E4AA-11AD-4765-83A7-99ECEACBDB7B}" dt="2025-11-19T08:52:03.272" v="219" actId="6264"/>
          <ac:spMkLst>
            <pc:docMk/>
            <pc:sldMk cId="1507437794" sldId="284"/>
            <ac:spMk id="7" creationId="{B27E959E-5261-E154-F735-69D017BFCA07}"/>
          </ac:spMkLst>
        </pc:spChg>
        <pc:spChg chg="add mod ord">
          <ac:chgData name="Arlette Simon" userId="f8e6e685-e2ee-4044-a307-57648a3e1d7f" providerId="ADAL" clId="{E743E4AA-11AD-4765-83A7-99ECEACBDB7B}" dt="2025-11-19T09:03:14.302" v="373" actId="14100"/>
          <ac:spMkLst>
            <pc:docMk/>
            <pc:sldMk cId="1507437794" sldId="284"/>
            <ac:spMk id="8" creationId="{04A6BDAA-6B94-A8F4-6382-986689B1B6AB}"/>
          </ac:spMkLst>
        </pc:spChg>
        <pc:spChg chg="add del mod">
          <ac:chgData name="Arlette Simon" userId="f8e6e685-e2ee-4044-a307-57648a3e1d7f" providerId="ADAL" clId="{E743E4AA-11AD-4765-83A7-99ECEACBDB7B}" dt="2025-11-19T08:52:11.378" v="223" actId="6264"/>
          <ac:spMkLst>
            <pc:docMk/>
            <pc:sldMk cId="1507437794" sldId="284"/>
            <ac:spMk id="9" creationId="{234F12EA-6B71-C14E-0934-BBFC3B5F4112}"/>
          </ac:spMkLst>
        </pc:spChg>
        <pc:spChg chg="add del mod">
          <ac:chgData name="Arlette Simon" userId="f8e6e685-e2ee-4044-a307-57648a3e1d7f" providerId="ADAL" clId="{E743E4AA-11AD-4765-83A7-99ECEACBDB7B}" dt="2025-11-19T08:52:11.378" v="223" actId="6264"/>
          <ac:spMkLst>
            <pc:docMk/>
            <pc:sldMk cId="1507437794" sldId="284"/>
            <ac:spMk id="10" creationId="{DC02B3E1-C21E-56B5-06F9-DC548E644867}"/>
          </ac:spMkLst>
        </pc:spChg>
        <pc:spChg chg="add del mod">
          <ac:chgData name="Arlette Simon" userId="f8e6e685-e2ee-4044-a307-57648a3e1d7f" providerId="ADAL" clId="{E743E4AA-11AD-4765-83A7-99ECEACBDB7B}" dt="2025-11-19T08:52:11.378" v="223" actId="6264"/>
          <ac:spMkLst>
            <pc:docMk/>
            <pc:sldMk cId="1507437794" sldId="284"/>
            <ac:spMk id="11" creationId="{5EBD7FF6-D9DC-F1D7-A8A6-F0C200247F2C}"/>
          </ac:spMkLst>
        </pc:spChg>
        <pc:spChg chg="add del mod">
          <ac:chgData name="Arlette Simon" userId="f8e6e685-e2ee-4044-a307-57648a3e1d7f" providerId="ADAL" clId="{E743E4AA-11AD-4765-83A7-99ECEACBDB7B}" dt="2025-11-19T08:52:11.378" v="223" actId="6264"/>
          <ac:spMkLst>
            <pc:docMk/>
            <pc:sldMk cId="1507437794" sldId="284"/>
            <ac:spMk id="12" creationId="{2AC019CC-47C7-590D-6C5A-696C3CAF089C}"/>
          </ac:spMkLst>
        </pc:spChg>
      </pc:sldChg>
      <pc:sldChg chg="addSp delSp modSp mod chgLayout">
        <pc:chgData name="Arlette Simon" userId="f8e6e685-e2ee-4044-a307-57648a3e1d7f" providerId="ADAL" clId="{E743E4AA-11AD-4765-83A7-99ECEACBDB7B}" dt="2025-11-19T08:53:30.687" v="246" actId="1076"/>
        <pc:sldMkLst>
          <pc:docMk/>
          <pc:sldMk cId="3429006766" sldId="285"/>
        </pc:sldMkLst>
        <pc:spChg chg="mod ord">
          <ac:chgData name="Arlette Simon" userId="f8e6e685-e2ee-4044-a307-57648a3e1d7f" providerId="ADAL" clId="{E743E4AA-11AD-4765-83A7-99ECEACBDB7B}" dt="2025-11-19T08:53:11.725" v="240" actId="6264"/>
          <ac:spMkLst>
            <pc:docMk/>
            <pc:sldMk cId="3429006766" sldId="285"/>
            <ac:spMk id="2" creationId="{C2619C66-2C3A-F400-6BD7-E0F8463C2463}"/>
          </ac:spMkLst>
        </pc:spChg>
        <pc:spChg chg="mod ord">
          <ac:chgData name="Arlette Simon" userId="f8e6e685-e2ee-4044-a307-57648a3e1d7f" providerId="ADAL" clId="{E743E4AA-11AD-4765-83A7-99ECEACBDB7B}" dt="2025-11-19T08:53:11.725" v="240" actId="6264"/>
          <ac:spMkLst>
            <pc:docMk/>
            <pc:sldMk cId="3429006766" sldId="285"/>
            <ac:spMk id="3" creationId="{02DE0C34-1242-FB58-F22B-106AE4B43F02}"/>
          </ac:spMkLst>
        </pc:spChg>
        <pc:spChg chg="add del mod">
          <ac:chgData name="Arlette Simon" userId="f8e6e685-e2ee-4044-a307-57648a3e1d7f" providerId="ADAL" clId="{E743E4AA-11AD-4765-83A7-99ECEACBDB7B}" dt="2025-11-19T08:53:11.725" v="240" actId="6264"/>
          <ac:spMkLst>
            <pc:docMk/>
            <pc:sldMk cId="3429006766" sldId="285"/>
            <ac:spMk id="4" creationId="{6DD62BFB-D91F-DB18-8199-A4B9067AD264}"/>
          </ac:spMkLst>
        </pc:spChg>
        <pc:spChg chg="mod ord">
          <ac:chgData name="Arlette Simon" userId="f8e6e685-e2ee-4044-a307-57648a3e1d7f" providerId="ADAL" clId="{E743E4AA-11AD-4765-83A7-99ECEACBDB7B}" dt="2025-11-19T08:53:11.725" v="240" actId="6264"/>
          <ac:spMkLst>
            <pc:docMk/>
            <pc:sldMk cId="3429006766" sldId="285"/>
            <ac:spMk id="5" creationId="{BC8C8A24-CC0D-3328-D838-BCBBF3991435}"/>
          </ac:spMkLst>
        </pc:spChg>
        <pc:spChg chg="add del mod">
          <ac:chgData name="Arlette Simon" userId="f8e6e685-e2ee-4044-a307-57648a3e1d7f" providerId="ADAL" clId="{E743E4AA-11AD-4765-83A7-99ECEACBDB7B}" dt="2025-11-19T08:53:11.725" v="240" actId="6264"/>
          <ac:spMkLst>
            <pc:docMk/>
            <pc:sldMk cId="3429006766" sldId="285"/>
            <ac:spMk id="6" creationId="{5B1A2BF7-94ED-121C-C67F-480B9CD3C7A9}"/>
          </ac:spMkLst>
        </pc:spChg>
        <pc:spChg chg="add del mod">
          <ac:chgData name="Arlette Simon" userId="f8e6e685-e2ee-4044-a307-57648a3e1d7f" providerId="ADAL" clId="{E743E4AA-11AD-4765-83A7-99ECEACBDB7B}" dt="2025-11-19T08:53:11.725" v="240" actId="6264"/>
          <ac:spMkLst>
            <pc:docMk/>
            <pc:sldMk cId="3429006766" sldId="285"/>
            <ac:spMk id="7" creationId="{8092D792-B117-1DDC-8671-8E9A28014465}"/>
          </ac:spMkLst>
        </pc:spChg>
        <pc:spChg chg="add del mod">
          <ac:chgData name="Arlette Simon" userId="f8e6e685-e2ee-4044-a307-57648a3e1d7f" providerId="ADAL" clId="{E743E4AA-11AD-4765-83A7-99ECEACBDB7B}" dt="2025-11-19T08:53:11.725" v="240" actId="6264"/>
          <ac:spMkLst>
            <pc:docMk/>
            <pc:sldMk cId="3429006766" sldId="285"/>
            <ac:spMk id="8" creationId="{0B046BDC-7288-F34B-C6EB-616D9E2968CF}"/>
          </ac:spMkLst>
        </pc:spChg>
        <pc:spChg chg="mod ord">
          <ac:chgData name="Arlette Simon" userId="f8e6e685-e2ee-4044-a307-57648a3e1d7f" providerId="ADAL" clId="{E743E4AA-11AD-4765-83A7-99ECEACBDB7B}" dt="2025-11-19T08:53:30.687" v="246" actId="1076"/>
          <ac:spMkLst>
            <pc:docMk/>
            <pc:sldMk cId="3429006766" sldId="285"/>
            <ac:spMk id="44" creationId="{6CA0580A-01BB-632A-F2B0-FE7F065E1179}"/>
          </ac:spMkLst>
        </pc:spChg>
      </pc:sldChg>
      <pc:sldChg chg="addSp delSp modSp mod chgLayout">
        <pc:chgData name="Arlette Simon" userId="f8e6e685-e2ee-4044-a307-57648a3e1d7f" providerId="ADAL" clId="{E743E4AA-11AD-4765-83A7-99ECEACBDB7B}" dt="2025-11-19T08:55:07.227" v="272" actId="14100"/>
        <pc:sldMkLst>
          <pc:docMk/>
          <pc:sldMk cId="3317879352" sldId="286"/>
        </pc:sldMkLst>
        <pc:spChg chg="mod ord">
          <ac:chgData name="Arlette Simon" userId="f8e6e685-e2ee-4044-a307-57648a3e1d7f" providerId="ADAL" clId="{E743E4AA-11AD-4765-83A7-99ECEACBDB7B}" dt="2025-11-19T08:54:45.093" v="264" actId="20577"/>
          <ac:spMkLst>
            <pc:docMk/>
            <pc:sldMk cId="3317879352" sldId="286"/>
            <ac:spMk id="2" creationId="{5D274DB6-EDA1-4C55-DDC5-EB7BBA53F05F}"/>
          </ac:spMkLst>
        </pc:spChg>
        <pc:spChg chg="mod ord">
          <ac:chgData name="Arlette Simon" userId="f8e6e685-e2ee-4044-a307-57648a3e1d7f" providerId="ADAL" clId="{E743E4AA-11AD-4765-83A7-99ECEACBDB7B}" dt="2025-11-19T08:54:40.848" v="262" actId="6264"/>
          <ac:spMkLst>
            <pc:docMk/>
            <pc:sldMk cId="3317879352" sldId="286"/>
            <ac:spMk id="3" creationId="{74CCC713-6D47-F36A-94BC-822CAA52D62E}"/>
          </ac:spMkLst>
        </pc:spChg>
        <pc:spChg chg="add del mod">
          <ac:chgData name="Arlette Simon" userId="f8e6e685-e2ee-4044-a307-57648a3e1d7f" providerId="ADAL" clId="{E743E4AA-11AD-4765-83A7-99ECEACBDB7B}" dt="2025-11-19T08:54:40.848" v="262" actId="6264"/>
          <ac:spMkLst>
            <pc:docMk/>
            <pc:sldMk cId="3317879352" sldId="286"/>
            <ac:spMk id="4" creationId="{A314E0B5-DA18-B4B3-EE72-523F142C183F}"/>
          </ac:spMkLst>
        </pc:spChg>
        <pc:spChg chg="mod ord">
          <ac:chgData name="Arlette Simon" userId="f8e6e685-e2ee-4044-a307-57648a3e1d7f" providerId="ADAL" clId="{E743E4AA-11AD-4765-83A7-99ECEACBDB7B}" dt="2025-11-19T08:54:40.848" v="262" actId="6264"/>
          <ac:spMkLst>
            <pc:docMk/>
            <pc:sldMk cId="3317879352" sldId="286"/>
            <ac:spMk id="5" creationId="{40746DF1-8717-33AC-D776-2543340ADAF8}"/>
          </ac:spMkLst>
        </pc:spChg>
        <pc:spChg chg="add del mod">
          <ac:chgData name="Arlette Simon" userId="f8e6e685-e2ee-4044-a307-57648a3e1d7f" providerId="ADAL" clId="{E743E4AA-11AD-4765-83A7-99ECEACBDB7B}" dt="2025-11-19T08:54:40.848" v="262" actId="6264"/>
          <ac:spMkLst>
            <pc:docMk/>
            <pc:sldMk cId="3317879352" sldId="286"/>
            <ac:spMk id="6" creationId="{AE9C20FD-F1D9-2C71-7120-243AC89C99A2}"/>
          </ac:spMkLst>
        </pc:spChg>
        <pc:spChg chg="add del mod">
          <ac:chgData name="Arlette Simon" userId="f8e6e685-e2ee-4044-a307-57648a3e1d7f" providerId="ADAL" clId="{E743E4AA-11AD-4765-83A7-99ECEACBDB7B}" dt="2025-11-19T08:54:40.848" v="262" actId="6264"/>
          <ac:spMkLst>
            <pc:docMk/>
            <pc:sldMk cId="3317879352" sldId="286"/>
            <ac:spMk id="7" creationId="{A04BFB0B-B216-5A89-D510-DA2D5179FBA5}"/>
          </ac:spMkLst>
        </pc:spChg>
        <pc:spChg chg="add del mod">
          <ac:chgData name="Arlette Simon" userId="f8e6e685-e2ee-4044-a307-57648a3e1d7f" providerId="ADAL" clId="{E743E4AA-11AD-4765-83A7-99ECEACBDB7B}" dt="2025-11-19T08:54:40.848" v="262" actId="6264"/>
          <ac:spMkLst>
            <pc:docMk/>
            <pc:sldMk cId="3317879352" sldId="286"/>
            <ac:spMk id="8" creationId="{9FF1FC04-5FA9-DBF3-DC36-1D200496B60B}"/>
          </ac:spMkLst>
        </pc:spChg>
        <pc:spChg chg="mod ord">
          <ac:chgData name="Arlette Simon" userId="f8e6e685-e2ee-4044-a307-57648a3e1d7f" providerId="ADAL" clId="{E743E4AA-11AD-4765-83A7-99ECEACBDB7B}" dt="2025-11-19T08:55:07.227" v="272" actId="14100"/>
          <ac:spMkLst>
            <pc:docMk/>
            <pc:sldMk cId="3317879352" sldId="286"/>
            <ac:spMk id="44" creationId="{8AC266FF-C22F-B952-AEBC-D27A3C383A73}"/>
          </ac:spMkLst>
        </pc:spChg>
      </pc:sldChg>
      <pc:sldChg chg="addSp delSp modSp mod chgLayout">
        <pc:chgData name="Arlette Simon" userId="f8e6e685-e2ee-4044-a307-57648a3e1d7f" providerId="ADAL" clId="{E743E4AA-11AD-4765-83A7-99ECEACBDB7B}" dt="2025-11-19T08:55:20.716" v="278" actId="207"/>
        <pc:sldMkLst>
          <pc:docMk/>
          <pc:sldMk cId="3203198643" sldId="287"/>
        </pc:sldMkLst>
        <pc:spChg chg="mod ord">
          <ac:chgData name="Arlette Simon" userId="f8e6e685-e2ee-4044-a307-57648a3e1d7f" providerId="ADAL" clId="{E743E4AA-11AD-4765-83A7-99ECEACBDB7B}" dt="2025-11-19T08:55:15.851" v="275" actId="20577"/>
          <ac:spMkLst>
            <pc:docMk/>
            <pc:sldMk cId="3203198643" sldId="287"/>
            <ac:spMk id="2" creationId="{DA296F4A-F6E3-CF88-643F-2D8113B01195}"/>
          </ac:spMkLst>
        </pc:spChg>
        <pc:spChg chg="mod ord">
          <ac:chgData name="Arlette Simon" userId="f8e6e685-e2ee-4044-a307-57648a3e1d7f" providerId="ADAL" clId="{E743E4AA-11AD-4765-83A7-99ECEACBDB7B}" dt="2025-11-19T08:55:12.306" v="273" actId="6264"/>
          <ac:spMkLst>
            <pc:docMk/>
            <pc:sldMk cId="3203198643" sldId="287"/>
            <ac:spMk id="3" creationId="{5036A84C-EB1E-4C5E-5388-6CD592003F39}"/>
          </ac:spMkLst>
        </pc:spChg>
        <pc:spChg chg="add del mod">
          <ac:chgData name="Arlette Simon" userId="f8e6e685-e2ee-4044-a307-57648a3e1d7f" providerId="ADAL" clId="{E743E4AA-11AD-4765-83A7-99ECEACBDB7B}" dt="2025-11-19T08:55:12.306" v="273" actId="6264"/>
          <ac:spMkLst>
            <pc:docMk/>
            <pc:sldMk cId="3203198643" sldId="287"/>
            <ac:spMk id="4" creationId="{64B3AC0B-EE40-67A8-85C4-E3037E623EDD}"/>
          </ac:spMkLst>
        </pc:spChg>
        <pc:spChg chg="mod ord">
          <ac:chgData name="Arlette Simon" userId="f8e6e685-e2ee-4044-a307-57648a3e1d7f" providerId="ADAL" clId="{E743E4AA-11AD-4765-83A7-99ECEACBDB7B}" dt="2025-11-19T08:55:12.306" v="273" actId="6264"/>
          <ac:spMkLst>
            <pc:docMk/>
            <pc:sldMk cId="3203198643" sldId="287"/>
            <ac:spMk id="5" creationId="{60526686-73AF-DAFD-90DF-DAAFCDBF1118}"/>
          </ac:spMkLst>
        </pc:spChg>
        <pc:spChg chg="add del mod">
          <ac:chgData name="Arlette Simon" userId="f8e6e685-e2ee-4044-a307-57648a3e1d7f" providerId="ADAL" clId="{E743E4AA-11AD-4765-83A7-99ECEACBDB7B}" dt="2025-11-19T08:55:12.306" v="273" actId="6264"/>
          <ac:spMkLst>
            <pc:docMk/>
            <pc:sldMk cId="3203198643" sldId="287"/>
            <ac:spMk id="6" creationId="{38DCABB5-8A5A-33B7-D0C6-D45D73FDEF8A}"/>
          </ac:spMkLst>
        </pc:spChg>
        <pc:spChg chg="add del mod">
          <ac:chgData name="Arlette Simon" userId="f8e6e685-e2ee-4044-a307-57648a3e1d7f" providerId="ADAL" clId="{E743E4AA-11AD-4765-83A7-99ECEACBDB7B}" dt="2025-11-19T08:55:12.306" v="273" actId="6264"/>
          <ac:spMkLst>
            <pc:docMk/>
            <pc:sldMk cId="3203198643" sldId="287"/>
            <ac:spMk id="7" creationId="{261DDA7B-D1D0-AE50-C1D8-7784F11A491E}"/>
          </ac:spMkLst>
        </pc:spChg>
        <pc:spChg chg="add del mod">
          <ac:chgData name="Arlette Simon" userId="f8e6e685-e2ee-4044-a307-57648a3e1d7f" providerId="ADAL" clId="{E743E4AA-11AD-4765-83A7-99ECEACBDB7B}" dt="2025-11-19T08:55:12.306" v="273" actId="6264"/>
          <ac:spMkLst>
            <pc:docMk/>
            <pc:sldMk cId="3203198643" sldId="287"/>
            <ac:spMk id="8" creationId="{7622146C-7D37-EE7A-861C-1C75F58752E5}"/>
          </ac:spMkLst>
        </pc:spChg>
        <pc:spChg chg="mod ord">
          <ac:chgData name="Arlette Simon" userId="f8e6e685-e2ee-4044-a307-57648a3e1d7f" providerId="ADAL" clId="{E743E4AA-11AD-4765-83A7-99ECEACBDB7B}" dt="2025-11-19T08:55:20.716" v="278" actId="207"/>
          <ac:spMkLst>
            <pc:docMk/>
            <pc:sldMk cId="3203198643" sldId="287"/>
            <ac:spMk id="44" creationId="{5A6928EF-2A0A-D804-909D-3D9DE3A0C322}"/>
          </ac:spMkLst>
        </pc:spChg>
      </pc:sldChg>
      <pc:sldChg chg="addSp delSp modSp mod modClrScheme chgLayout">
        <pc:chgData name="Arlette Simon" userId="f8e6e685-e2ee-4044-a307-57648a3e1d7f" providerId="ADAL" clId="{E743E4AA-11AD-4765-83A7-99ECEACBDB7B}" dt="2025-11-19T09:04:08.787" v="388" actId="1037"/>
        <pc:sldMkLst>
          <pc:docMk/>
          <pc:sldMk cId="2105180396" sldId="288"/>
        </pc:sldMkLst>
        <pc:spChg chg="mod ord">
          <ac:chgData name="Arlette Simon" userId="f8e6e685-e2ee-4044-a307-57648a3e1d7f" providerId="ADAL" clId="{E743E4AA-11AD-4765-83A7-99ECEACBDB7B}" dt="2025-11-19T09:04:04.215" v="380" actId="2711"/>
          <ac:spMkLst>
            <pc:docMk/>
            <pc:sldMk cId="2105180396" sldId="288"/>
            <ac:spMk id="2" creationId="{E718B4D4-7F7B-80E0-BED4-AE9FAB0B71DA}"/>
          </ac:spMkLst>
        </pc:spChg>
        <pc:spChg chg="del mod ord">
          <ac:chgData name="Arlette Simon" userId="f8e6e685-e2ee-4044-a307-57648a3e1d7f" providerId="ADAL" clId="{E743E4AA-11AD-4765-83A7-99ECEACBDB7B}" dt="2025-11-19T09:03:47.270" v="375" actId="700"/>
          <ac:spMkLst>
            <pc:docMk/>
            <pc:sldMk cId="2105180396" sldId="288"/>
            <ac:spMk id="3" creationId="{F854EF6B-F4C8-4291-D7E1-7FDA899585D4}"/>
          </ac:spMkLst>
        </pc:spChg>
        <pc:spChg chg="add del mod">
          <ac:chgData name="Arlette Simon" userId="f8e6e685-e2ee-4044-a307-57648a3e1d7f" providerId="ADAL" clId="{E743E4AA-11AD-4765-83A7-99ECEACBDB7B}" dt="2025-11-19T08:53:59.709" v="247" actId="6264"/>
          <ac:spMkLst>
            <pc:docMk/>
            <pc:sldMk cId="2105180396" sldId="288"/>
            <ac:spMk id="4" creationId="{9188400B-EECD-2D17-A917-A521383E121A}"/>
          </ac:spMkLst>
        </pc:spChg>
        <pc:spChg chg="mod ord">
          <ac:chgData name="Arlette Simon" userId="f8e6e685-e2ee-4044-a307-57648a3e1d7f" providerId="ADAL" clId="{E743E4AA-11AD-4765-83A7-99ECEACBDB7B}" dt="2025-11-19T09:03:47.270" v="375" actId="700"/>
          <ac:spMkLst>
            <pc:docMk/>
            <pc:sldMk cId="2105180396" sldId="288"/>
            <ac:spMk id="5" creationId="{29186D31-6C02-CCE3-DE21-A86D8369D832}"/>
          </ac:spMkLst>
        </pc:spChg>
        <pc:spChg chg="add del mod">
          <ac:chgData name="Arlette Simon" userId="f8e6e685-e2ee-4044-a307-57648a3e1d7f" providerId="ADAL" clId="{E743E4AA-11AD-4765-83A7-99ECEACBDB7B}" dt="2025-11-19T08:53:59.709" v="247" actId="6264"/>
          <ac:spMkLst>
            <pc:docMk/>
            <pc:sldMk cId="2105180396" sldId="288"/>
            <ac:spMk id="6" creationId="{E8E0C601-F4D8-55CE-685B-643C0CF5311A}"/>
          </ac:spMkLst>
        </pc:spChg>
        <pc:spChg chg="add del mod">
          <ac:chgData name="Arlette Simon" userId="f8e6e685-e2ee-4044-a307-57648a3e1d7f" providerId="ADAL" clId="{E743E4AA-11AD-4765-83A7-99ECEACBDB7B}" dt="2025-11-19T08:53:59.709" v="247" actId="6264"/>
          <ac:spMkLst>
            <pc:docMk/>
            <pc:sldMk cId="2105180396" sldId="288"/>
            <ac:spMk id="7" creationId="{88523249-3AB6-49F1-C4AC-C9F64F0FA653}"/>
          </ac:spMkLst>
        </pc:spChg>
        <pc:spChg chg="add mod ord">
          <ac:chgData name="Arlette Simon" userId="f8e6e685-e2ee-4044-a307-57648a3e1d7f" providerId="ADAL" clId="{E743E4AA-11AD-4765-83A7-99ECEACBDB7B}" dt="2025-11-19T09:04:08.787" v="388" actId="1037"/>
          <ac:spMkLst>
            <pc:docMk/>
            <pc:sldMk cId="2105180396" sldId="288"/>
            <ac:spMk id="8" creationId="{3B284E55-2264-D7D9-E172-1BC12A5D7297}"/>
          </ac:spMkLst>
        </pc:spChg>
        <pc:spChg chg="add del mod">
          <ac:chgData name="Arlette Simon" userId="f8e6e685-e2ee-4044-a307-57648a3e1d7f" providerId="ADAL" clId="{E743E4AA-11AD-4765-83A7-99ECEACBDB7B}" dt="2025-11-19T08:54:06.934" v="251" actId="6264"/>
          <ac:spMkLst>
            <pc:docMk/>
            <pc:sldMk cId="2105180396" sldId="288"/>
            <ac:spMk id="9" creationId="{212C39F0-8AA4-B8A0-1776-21E2D87E1A28}"/>
          </ac:spMkLst>
        </pc:spChg>
        <pc:spChg chg="add del mod">
          <ac:chgData name="Arlette Simon" userId="f8e6e685-e2ee-4044-a307-57648a3e1d7f" providerId="ADAL" clId="{E743E4AA-11AD-4765-83A7-99ECEACBDB7B}" dt="2025-11-19T08:54:06.934" v="251" actId="6264"/>
          <ac:spMkLst>
            <pc:docMk/>
            <pc:sldMk cId="2105180396" sldId="288"/>
            <ac:spMk id="10" creationId="{344A347F-027F-903C-77D3-584A849EE269}"/>
          </ac:spMkLst>
        </pc:spChg>
        <pc:spChg chg="add del mod">
          <ac:chgData name="Arlette Simon" userId="f8e6e685-e2ee-4044-a307-57648a3e1d7f" providerId="ADAL" clId="{E743E4AA-11AD-4765-83A7-99ECEACBDB7B}" dt="2025-11-19T08:54:06.934" v="251" actId="6264"/>
          <ac:spMkLst>
            <pc:docMk/>
            <pc:sldMk cId="2105180396" sldId="288"/>
            <ac:spMk id="11" creationId="{A98A8F8F-A6FA-09B6-DA96-DC13F5372EA0}"/>
          </ac:spMkLst>
        </pc:spChg>
        <pc:spChg chg="add del mod">
          <ac:chgData name="Arlette Simon" userId="f8e6e685-e2ee-4044-a307-57648a3e1d7f" providerId="ADAL" clId="{E743E4AA-11AD-4765-83A7-99ECEACBDB7B}" dt="2025-11-19T08:54:06.934" v="251" actId="6264"/>
          <ac:spMkLst>
            <pc:docMk/>
            <pc:sldMk cId="2105180396" sldId="288"/>
            <ac:spMk id="12" creationId="{DC21F065-AD46-CF4A-B5D1-8058E30BC393}"/>
          </ac:spMkLst>
        </pc:spChg>
      </pc:sldChg>
      <pc:sldChg chg="addSp delSp modSp mod chgLayout">
        <pc:chgData name="Arlette Simon" userId="f8e6e685-e2ee-4044-a307-57648a3e1d7f" providerId="ADAL" clId="{E743E4AA-11AD-4765-83A7-99ECEACBDB7B}" dt="2025-11-19T08:54:32.975" v="261" actId="207"/>
        <pc:sldMkLst>
          <pc:docMk/>
          <pc:sldMk cId="933598878" sldId="289"/>
        </pc:sldMkLst>
        <pc:spChg chg="mod ord">
          <ac:chgData name="Arlette Simon" userId="f8e6e685-e2ee-4044-a307-57648a3e1d7f" providerId="ADAL" clId="{E743E4AA-11AD-4765-83A7-99ECEACBDB7B}" dt="2025-11-19T08:54:27.911" v="260" actId="6264"/>
          <ac:spMkLst>
            <pc:docMk/>
            <pc:sldMk cId="933598878" sldId="289"/>
            <ac:spMk id="2" creationId="{836E3824-F175-59EE-9A35-B98415CB8B55}"/>
          </ac:spMkLst>
        </pc:spChg>
        <pc:spChg chg="mod ord">
          <ac:chgData name="Arlette Simon" userId="f8e6e685-e2ee-4044-a307-57648a3e1d7f" providerId="ADAL" clId="{E743E4AA-11AD-4765-83A7-99ECEACBDB7B}" dt="2025-11-19T08:54:27.911" v="260" actId="6264"/>
          <ac:spMkLst>
            <pc:docMk/>
            <pc:sldMk cId="933598878" sldId="289"/>
            <ac:spMk id="3" creationId="{A6992A95-DD47-508F-4908-04BA5A9A7E44}"/>
          </ac:spMkLst>
        </pc:spChg>
        <pc:spChg chg="add del mod">
          <ac:chgData name="Arlette Simon" userId="f8e6e685-e2ee-4044-a307-57648a3e1d7f" providerId="ADAL" clId="{E743E4AA-11AD-4765-83A7-99ECEACBDB7B}" dt="2025-11-19T08:54:27.911" v="260" actId="6264"/>
          <ac:spMkLst>
            <pc:docMk/>
            <pc:sldMk cId="933598878" sldId="289"/>
            <ac:spMk id="4" creationId="{D4EF8A9C-4749-4CEB-54A4-E61E560B4BCC}"/>
          </ac:spMkLst>
        </pc:spChg>
        <pc:spChg chg="mod ord">
          <ac:chgData name="Arlette Simon" userId="f8e6e685-e2ee-4044-a307-57648a3e1d7f" providerId="ADAL" clId="{E743E4AA-11AD-4765-83A7-99ECEACBDB7B}" dt="2025-11-19T08:54:27.911" v="260" actId="6264"/>
          <ac:spMkLst>
            <pc:docMk/>
            <pc:sldMk cId="933598878" sldId="289"/>
            <ac:spMk id="5" creationId="{4BCE20E7-414B-8622-546D-8DA18AC4E6C5}"/>
          </ac:spMkLst>
        </pc:spChg>
        <pc:spChg chg="add del mod">
          <ac:chgData name="Arlette Simon" userId="f8e6e685-e2ee-4044-a307-57648a3e1d7f" providerId="ADAL" clId="{E743E4AA-11AD-4765-83A7-99ECEACBDB7B}" dt="2025-11-19T08:54:27.911" v="260" actId="6264"/>
          <ac:spMkLst>
            <pc:docMk/>
            <pc:sldMk cId="933598878" sldId="289"/>
            <ac:spMk id="6" creationId="{675952AE-FD7C-51CA-4C04-1BF200F22476}"/>
          </ac:spMkLst>
        </pc:spChg>
        <pc:spChg chg="add del mod">
          <ac:chgData name="Arlette Simon" userId="f8e6e685-e2ee-4044-a307-57648a3e1d7f" providerId="ADAL" clId="{E743E4AA-11AD-4765-83A7-99ECEACBDB7B}" dt="2025-11-19T08:54:27.911" v="260" actId="6264"/>
          <ac:spMkLst>
            <pc:docMk/>
            <pc:sldMk cId="933598878" sldId="289"/>
            <ac:spMk id="7" creationId="{667E7B6C-3C44-4F3A-5CF3-36C5456BC30A}"/>
          </ac:spMkLst>
        </pc:spChg>
        <pc:spChg chg="add del mod">
          <ac:chgData name="Arlette Simon" userId="f8e6e685-e2ee-4044-a307-57648a3e1d7f" providerId="ADAL" clId="{E743E4AA-11AD-4765-83A7-99ECEACBDB7B}" dt="2025-11-19T08:54:27.911" v="260" actId="6264"/>
          <ac:spMkLst>
            <pc:docMk/>
            <pc:sldMk cId="933598878" sldId="289"/>
            <ac:spMk id="8" creationId="{2B1873A7-ED01-7FE3-055D-F7D2082A0227}"/>
          </ac:spMkLst>
        </pc:spChg>
        <pc:spChg chg="mod ord">
          <ac:chgData name="Arlette Simon" userId="f8e6e685-e2ee-4044-a307-57648a3e1d7f" providerId="ADAL" clId="{E743E4AA-11AD-4765-83A7-99ECEACBDB7B}" dt="2025-11-19T08:54:32.975" v="261" actId="207"/>
          <ac:spMkLst>
            <pc:docMk/>
            <pc:sldMk cId="933598878" sldId="289"/>
            <ac:spMk id="44" creationId="{91F8FF2E-CBDF-3785-A835-01F343C66C74}"/>
          </ac:spMkLst>
        </pc:spChg>
      </pc:sldChg>
      <pc:sldChg chg="addSp delSp modSp mod chgLayout">
        <pc:chgData name="Arlette Simon" userId="f8e6e685-e2ee-4044-a307-57648a3e1d7f" providerId="ADAL" clId="{E743E4AA-11AD-4765-83A7-99ECEACBDB7B}" dt="2025-11-19T08:55:39.502" v="282" actId="14100"/>
        <pc:sldMkLst>
          <pc:docMk/>
          <pc:sldMk cId="1872826759" sldId="290"/>
        </pc:sldMkLst>
        <pc:spChg chg="mod ord">
          <ac:chgData name="Arlette Simon" userId="f8e6e685-e2ee-4044-a307-57648a3e1d7f" providerId="ADAL" clId="{E743E4AA-11AD-4765-83A7-99ECEACBDB7B}" dt="2025-11-19T08:55:29.203" v="279" actId="6264"/>
          <ac:spMkLst>
            <pc:docMk/>
            <pc:sldMk cId="1872826759" sldId="290"/>
            <ac:spMk id="2" creationId="{715B5DBF-C187-F8F1-2A77-6C49DE3B6D13}"/>
          </ac:spMkLst>
        </pc:spChg>
        <pc:spChg chg="mod ord">
          <ac:chgData name="Arlette Simon" userId="f8e6e685-e2ee-4044-a307-57648a3e1d7f" providerId="ADAL" clId="{E743E4AA-11AD-4765-83A7-99ECEACBDB7B}" dt="2025-11-19T08:55:29.203" v="279" actId="6264"/>
          <ac:spMkLst>
            <pc:docMk/>
            <pc:sldMk cId="1872826759" sldId="290"/>
            <ac:spMk id="3" creationId="{C810CD49-E1FE-D479-0005-BFEE048D0C08}"/>
          </ac:spMkLst>
        </pc:spChg>
        <pc:spChg chg="add del mod">
          <ac:chgData name="Arlette Simon" userId="f8e6e685-e2ee-4044-a307-57648a3e1d7f" providerId="ADAL" clId="{E743E4AA-11AD-4765-83A7-99ECEACBDB7B}" dt="2025-11-19T08:55:29.203" v="279" actId="6264"/>
          <ac:spMkLst>
            <pc:docMk/>
            <pc:sldMk cId="1872826759" sldId="290"/>
            <ac:spMk id="4" creationId="{13A48511-575C-0193-52AC-F149DBC9F657}"/>
          </ac:spMkLst>
        </pc:spChg>
        <pc:spChg chg="mod ord">
          <ac:chgData name="Arlette Simon" userId="f8e6e685-e2ee-4044-a307-57648a3e1d7f" providerId="ADAL" clId="{E743E4AA-11AD-4765-83A7-99ECEACBDB7B}" dt="2025-11-19T08:55:29.203" v="279" actId="6264"/>
          <ac:spMkLst>
            <pc:docMk/>
            <pc:sldMk cId="1872826759" sldId="290"/>
            <ac:spMk id="5" creationId="{44BA7B75-5688-E450-234D-E6AAB21C7BD4}"/>
          </ac:spMkLst>
        </pc:spChg>
        <pc:spChg chg="add del mod">
          <ac:chgData name="Arlette Simon" userId="f8e6e685-e2ee-4044-a307-57648a3e1d7f" providerId="ADAL" clId="{E743E4AA-11AD-4765-83A7-99ECEACBDB7B}" dt="2025-11-19T08:55:29.203" v="279" actId="6264"/>
          <ac:spMkLst>
            <pc:docMk/>
            <pc:sldMk cId="1872826759" sldId="290"/>
            <ac:spMk id="6" creationId="{C7133F02-14D3-2935-91ED-03D05BED7778}"/>
          </ac:spMkLst>
        </pc:spChg>
        <pc:spChg chg="add del mod">
          <ac:chgData name="Arlette Simon" userId="f8e6e685-e2ee-4044-a307-57648a3e1d7f" providerId="ADAL" clId="{E743E4AA-11AD-4765-83A7-99ECEACBDB7B}" dt="2025-11-19T08:55:29.203" v="279" actId="6264"/>
          <ac:spMkLst>
            <pc:docMk/>
            <pc:sldMk cId="1872826759" sldId="290"/>
            <ac:spMk id="7" creationId="{029DC38D-903D-9C56-1611-90AED473C873}"/>
          </ac:spMkLst>
        </pc:spChg>
        <pc:spChg chg="add del mod">
          <ac:chgData name="Arlette Simon" userId="f8e6e685-e2ee-4044-a307-57648a3e1d7f" providerId="ADAL" clId="{E743E4AA-11AD-4765-83A7-99ECEACBDB7B}" dt="2025-11-19T08:55:29.203" v="279" actId="6264"/>
          <ac:spMkLst>
            <pc:docMk/>
            <pc:sldMk cId="1872826759" sldId="290"/>
            <ac:spMk id="8" creationId="{DF53D656-0FB3-282A-FBB7-26F838433D9D}"/>
          </ac:spMkLst>
        </pc:spChg>
        <pc:spChg chg="mod ord">
          <ac:chgData name="Arlette Simon" userId="f8e6e685-e2ee-4044-a307-57648a3e1d7f" providerId="ADAL" clId="{E743E4AA-11AD-4765-83A7-99ECEACBDB7B}" dt="2025-11-19T08:55:39.502" v="282" actId="14100"/>
          <ac:spMkLst>
            <pc:docMk/>
            <pc:sldMk cId="1872826759" sldId="290"/>
            <ac:spMk id="44" creationId="{DBA24AB5-46F1-0939-5BEC-E0A67C9069B9}"/>
          </ac:spMkLst>
        </pc:spChg>
      </pc:sldChg>
      <pc:sldChg chg="addSp delSp modSp mod chgLayout">
        <pc:chgData name="Arlette Simon" userId="f8e6e685-e2ee-4044-a307-57648a3e1d7f" providerId="ADAL" clId="{E743E4AA-11AD-4765-83A7-99ECEACBDB7B}" dt="2025-11-19T09:04:47.898" v="395" actId="404"/>
        <pc:sldMkLst>
          <pc:docMk/>
          <pc:sldMk cId="1394462555" sldId="291"/>
        </pc:sldMkLst>
        <pc:spChg chg="add del mod">
          <ac:chgData name="Arlette Simon" userId="f8e6e685-e2ee-4044-a307-57648a3e1d7f" providerId="ADAL" clId="{E743E4AA-11AD-4765-83A7-99ECEACBDB7B}" dt="2025-11-19T08:55:47.039" v="283" actId="6264"/>
          <ac:spMkLst>
            <pc:docMk/>
            <pc:sldMk cId="1394462555" sldId="291"/>
            <ac:spMk id="2" creationId="{3D3D1EA7-03EC-76D5-C9A6-029ECD76AE4B}"/>
          </ac:spMkLst>
        </pc:spChg>
        <pc:spChg chg="add del mod">
          <ac:chgData name="Arlette Simon" userId="f8e6e685-e2ee-4044-a307-57648a3e1d7f" providerId="ADAL" clId="{E743E4AA-11AD-4765-83A7-99ECEACBDB7B}" dt="2025-11-19T08:55:47.281" v="284" actId="6264"/>
          <ac:spMkLst>
            <pc:docMk/>
            <pc:sldMk cId="1394462555" sldId="291"/>
            <ac:spMk id="3" creationId="{E452FD3C-AAC8-0B12-8794-11781FCADC8C}"/>
          </ac:spMkLst>
        </pc:spChg>
        <pc:spChg chg="mod ord">
          <ac:chgData name="Arlette Simon" userId="f8e6e685-e2ee-4044-a307-57648a3e1d7f" providerId="ADAL" clId="{E743E4AA-11AD-4765-83A7-99ECEACBDB7B}" dt="2025-11-19T09:04:47.898" v="395" actId="404"/>
          <ac:spMkLst>
            <pc:docMk/>
            <pc:sldMk cId="1394462555" sldId="291"/>
            <ac:spMk id="5" creationId="{9C0F5680-17FF-984A-F2C0-BA9C602443F7}"/>
          </ac:spMkLst>
        </pc:spChg>
      </pc:sldChg>
      <pc:sldChg chg="addSp delSp modSp mod chgLayout">
        <pc:chgData name="Arlette Simon" userId="f8e6e685-e2ee-4044-a307-57648a3e1d7f" providerId="ADAL" clId="{E743E4AA-11AD-4765-83A7-99ECEACBDB7B}" dt="2025-11-19T09:04:57.269" v="396" actId="207"/>
        <pc:sldMkLst>
          <pc:docMk/>
          <pc:sldMk cId="3149873830" sldId="292"/>
        </pc:sldMkLst>
        <pc:spChg chg="mod ord">
          <ac:chgData name="Arlette Simon" userId="f8e6e685-e2ee-4044-a307-57648a3e1d7f" providerId="ADAL" clId="{E743E4AA-11AD-4765-83A7-99ECEACBDB7B}" dt="2025-11-19T08:56:07.799" v="288" actId="6264"/>
          <ac:spMkLst>
            <pc:docMk/>
            <pc:sldMk cId="3149873830" sldId="292"/>
            <ac:spMk id="2" creationId="{91C0E098-0DB4-8899-53B8-9F500BD573E3}"/>
          </ac:spMkLst>
        </pc:spChg>
        <pc:spChg chg="add del mod">
          <ac:chgData name="Arlette Simon" userId="f8e6e685-e2ee-4044-a307-57648a3e1d7f" providerId="ADAL" clId="{E743E4AA-11AD-4765-83A7-99ECEACBDB7B}" dt="2025-11-19T08:56:07.799" v="288" actId="6264"/>
          <ac:spMkLst>
            <pc:docMk/>
            <pc:sldMk cId="3149873830" sldId="292"/>
            <ac:spMk id="3" creationId="{B06ACE4B-B777-1E54-C10F-697250ED4E09}"/>
          </ac:spMkLst>
        </pc:spChg>
        <pc:spChg chg="add del mod">
          <ac:chgData name="Arlette Simon" userId="f8e6e685-e2ee-4044-a307-57648a3e1d7f" providerId="ADAL" clId="{E743E4AA-11AD-4765-83A7-99ECEACBDB7B}" dt="2025-11-19T08:56:07.799" v="288" actId="6264"/>
          <ac:spMkLst>
            <pc:docMk/>
            <pc:sldMk cId="3149873830" sldId="292"/>
            <ac:spMk id="4" creationId="{D6B6A40F-4E54-F867-A414-EA417D1CE108}"/>
          </ac:spMkLst>
        </pc:spChg>
        <pc:spChg chg="mod ord">
          <ac:chgData name="Arlette Simon" userId="f8e6e685-e2ee-4044-a307-57648a3e1d7f" providerId="ADAL" clId="{E743E4AA-11AD-4765-83A7-99ECEACBDB7B}" dt="2025-11-19T08:56:07.799" v="288" actId="6264"/>
          <ac:spMkLst>
            <pc:docMk/>
            <pc:sldMk cId="3149873830" sldId="292"/>
            <ac:spMk id="5" creationId="{C94B7C23-FA49-45AA-16A3-5E66B17F4FCE}"/>
          </ac:spMkLst>
        </pc:spChg>
        <pc:spChg chg="add del mod">
          <ac:chgData name="Arlette Simon" userId="f8e6e685-e2ee-4044-a307-57648a3e1d7f" providerId="ADAL" clId="{E743E4AA-11AD-4765-83A7-99ECEACBDB7B}" dt="2025-11-19T08:56:07.799" v="288" actId="6264"/>
          <ac:spMkLst>
            <pc:docMk/>
            <pc:sldMk cId="3149873830" sldId="292"/>
            <ac:spMk id="6" creationId="{B573F9E2-C77E-6CF5-2C0F-0FC4880B8567}"/>
          </ac:spMkLst>
        </pc:spChg>
        <pc:spChg chg="add mod ord">
          <ac:chgData name="Arlette Simon" userId="f8e6e685-e2ee-4044-a307-57648a3e1d7f" providerId="ADAL" clId="{E743E4AA-11AD-4765-83A7-99ECEACBDB7B}" dt="2025-11-19T08:56:07.799" v="288" actId="6264"/>
          <ac:spMkLst>
            <pc:docMk/>
            <pc:sldMk cId="3149873830" sldId="292"/>
            <ac:spMk id="7" creationId="{E4EEE74A-52BE-DC32-DF8F-9B41190CF607}"/>
          </ac:spMkLst>
        </pc:spChg>
        <pc:spChg chg="mod ord">
          <ac:chgData name="Arlette Simon" userId="f8e6e685-e2ee-4044-a307-57648a3e1d7f" providerId="ADAL" clId="{E743E4AA-11AD-4765-83A7-99ECEACBDB7B}" dt="2025-11-19T09:04:57.269" v="396" actId="207"/>
          <ac:spMkLst>
            <pc:docMk/>
            <pc:sldMk cId="3149873830" sldId="292"/>
            <ac:spMk id="44" creationId="{1791183B-ABEF-CBE5-A44F-8ADEC70CFBAB}"/>
          </ac:spMkLst>
        </pc:spChg>
      </pc:sldChg>
      <pc:sldChg chg="addSp delSp modSp mod chgLayout">
        <pc:chgData name="Arlette Simon" userId="f8e6e685-e2ee-4044-a307-57648a3e1d7f" providerId="ADAL" clId="{E743E4AA-11AD-4765-83A7-99ECEACBDB7B}" dt="2025-11-19T08:58:49.387" v="310" actId="6549"/>
        <pc:sldMkLst>
          <pc:docMk/>
          <pc:sldMk cId="2090944115" sldId="293"/>
        </pc:sldMkLst>
        <pc:spChg chg="mod ord">
          <ac:chgData name="Arlette Simon" userId="f8e6e685-e2ee-4044-a307-57648a3e1d7f" providerId="ADAL" clId="{E743E4AA-11AD-4765-83A7-99ECEACBDB7B}" dt="2025-11-19T08:42:14.360" v="71" actId="6264"/>
          <ac:spMkLst>
            <pc:docMk/>
            <pc:sldMk cId="2090944115" sldId="293"/>
            <ac:spMk id="2" creationId="{11F2F649-AD06-C979-19B4-BE379AB670DB}"/>
          </ac:spMkLst>
        </pc:spChg>
        <pc:spChg chg="mod ord">
          <ac:chgData name="Arlette Simon" userId="f8e6e685-e2ee-4044-a307-57648a3e1d7f" providerId="ADAL" clId="{E743E4AA-11AD-4765-83A7-99ECEACBDB7B}" dt="2025-11-19T08:58:49.387" v="310" actId="6549"/>
          <ac:spMkLst>
            <pc:docMk/>
            <pc:sldMk cId="2090944115" sldId="293"/>
            <ac:spMk id="3" creationId="{ADE123B4-1714-B1C7-6CFD-03E6B4DA73F4}"/>
          </ac:spMkLst>
        </pc:spChg>
        <pc:spChg chg="mod ord">
          <ac:chgData name="Arlette Simon" userId="f8e6e685-e2ee-4044-a307-57648a3e1d7f" providerId="ADAL" clId="{E743E4AA-11AD-4765-83A7-99ECEACBDB7B}" dt="2025-11-19T08:42:51.674" v="80" actId="113"/>
          <ac:spMkLst>
            <pc:docMk/>
            <pc:sldMk cId="2090944115" sldId="293"/>
            <ac:spMk id="4" creationId="{6C4A7F91-CD68-6BAF-6A62-7E9DAD8705CA}"/>
          </ac:spMkLst>
        </pc:spChg>
        <pc:spChg chg="mod ord">
          <ac:chgData name="Arlette Simon" userId="f8e6e685-e2ee-4044-a307-57648a3e1d7f" providerId="ADAL" clId="{E743E4AA-11AD-4765-83A7-99ECEACBDB7B}" dt="2025-11-19T08:42:14.360" v="71" actId="6264"/>
          <ac:spMkLst>
            <pc:docMk/>
            <pc:sldMk cId="2090944115" sldId="293"/>
            <ac:spMk id="5" creationId="{BD907315-02C0-98EA-265D-222CEC34CAA4}"/>
          </ac:spMkLst>
        </pc:spChg>
        <pc:spChg chg="add del mod">
          <ac:chgData name="Arlette Simon" userId="f8e6e685-e2ee-4044-a307-57648a3e1d7f" providerId="ADAL" clId="{E743E4AA-11AD-4765-83A7-99ECEACBDB7B}" dt="2025-11-19T08:42:14.360" v="71" actId="6264"/>
          <ac:spMkLst>
            <pc:docMk/>
            <pc:sldMk cId="2090944115" sldId="293"/>
            <ac:spMk id="6" creationId="{DD887EA7-7243-042D-0FC2-14CE2FE1C927}"/>
          </ac:spMkLst>
        </pc:spChg>
        <pc:spChg chg="add del mod">
          <ac:chgData name="Arlette Simon" userId="f8e6e685-e2ee-4044-a307-57648a3e1d7f" providerId="ADAL" clId="{E743E4AA-11AD-4765-83A7-99ECEACBDB7B}" dt="2025-11-19T08:42:14.360" v="71" actId="6264"/>
          <ac:spMkLst>
            <pc:docMk/>
            <pc:sldMk cId="2090944115" sldId="293"/>
            <ac:spMk id="7" creationId="{58A5CDAE-E18C-256A-D278-050CDD99A3F1}"/>
          </ac:spMkLst>
        </pc:spChg>
        <pc:spChg chg="add del mod">
          <ac:chgData name="Arlette Simon" userId="f8e6e685-e2ee-4044-a307-57648a3e1d7f" providerId="ADAL" clId="{E743E4AA-11AD-4765-83A7-99ECEACBDB7B}" dt="2025-11-19T08:42:14.360" v="71" actId="6264"/>
          <ac:spMkLst>
            <pc:docMk/>
            <pc:sldMk cId="2090944115" sldId="293"/>
            <ac:spMk id="8" creationId="{593B89EF-15B2-E7FA-91B5-C4BAA03E2ED8}"/>
          </ac:spMkLst>
        </pc:spChg>
        <pc:spChg chg="add del mod">
          <ac:chgData name="Arlette Simon" userId="f8e6e685-e2ee-4044-a307-57648a3e1d7f" providerId="ADAL" clId="{E743E4AA-11AD-4765-83A7-99ECEACBDB7B}" dt="2025-11-19T08:42:14.360" v="71" actId="6264"/>
          <ac:spMkLst>
            <pc:docMk/>
            <pc:sldMk cId="2090944115" sldId="293"/>
            <ac:spMk id="9" creationId="{8090FC7F-71FD-C38A-2191-3021BBF26A20}"/>
          </ac:spMkLst>
        </pc:spChg>
      </pc:sldChg>
      <pc:sldChg chg="modSp mod">
        <pc:chgData name="Arlette Simon" userId="f8e6e685-e2ee-4044-a307-57648a3e1d7f" providerId="ADAL" clId="{E743E4AA-11AD-4765-83A7-99ECEACBDB7B}" dt="2025-11-19T08:56:44.229" v="296" actId="20577"/>
        <pc:sldMkLst>
          <pc:docMk/>
          <pc:sldMk cId="1556391700" sldId="294"/>
        </pc:sldMkLst>
        <pc:spChg chg="mod">
          <ac:chgData name="Arlette Simon" userId="f8e6e685-e2ee-4044-a307-57648a3e1d7f" providerId="ADAL" clId="{E743E4AA-11AD-4765-83A7-99ECEACBDB7B}" dt="2025-11-19T08:56:44.229" v="296" actId="20577"/>
          <ac:spMkLst>
            <pc:docMk/>
            <pc:sldMk cId="1556391700" sldId="294"/>
            <ac:spMk id="2" creationId="{F5289FE7-5F9B-3F30-A1A8-AEA3ED340D86}"/>
          </ac:spMkLst>
        </pc:spChg>
      </pc:sldChg>
      <pc:sldChg chg="modSp mod">
        <pc:chgData name="Arlette Simon" userId="f8e6e685-e2ee-4044-a307-57648a3e1d7f" providerId="ADAL" clId="{E743E4AA-11AD-4765-83A7-99ECEACBDB7B}" dt="2025-11-19T08:43:23.070" v="81" actId="120"/>
        <pc:sldMkLst>
          <pc:docMk/>
          <pc:sldMk cId="4053323232" sldId="297"/>
        </pc:sldMkLst>
        <pc:spChg chg="mod">
          <ac:chgData name="Arlette Simon" userId="f8e6e685-e2ee-4044-a307-57648a3e1d7f" providerId="ADAL" clId="{E743E4AA-11AD-4765-83A7-99ECEACBDB7B}" dt="2025-11-19T08:43:23.070" v="81" actId="120"/>
          <ac:spMkLst>
            <pc:docMk/>
            <pc:sldMk cId="4053323232" sldId="297"/>
            <ac:spMk id="5" creationId="{03029D3D-47BF-D25D-8070-9BE8A2666B5E}"/>
          </ac:spMkLst>
        </pc:spChg>
      </pc:sldChg>
      <pc:sldChg chg="addSp delSp modSp mod chgLayout">
        <pc:chgData name="Arlette Simon" userId="f8e6e685-e2ee-4044-a307-57648a3e1d7f" providerId="ADAL" clId="{E743E4AA-11AD-4765-83A7-99ECEACBDB7B}" dt="2025-11-19T08:57:57.374" v="304" actId="20577"/>
        <pc:sldMkLst>
          <pc:docMk/>
          <pc:sldMk cId="2985693567" sldId="300"/>
        </pc:sldMkLst>
        <pc:spChg chg="mod ord">
          <ac:chgData name="Arlette Simon" userId="f8e6e685-e2ee-4044-a307-57648a3e1d7f" providerId="ADAL" clId="{E743E4AA-11AD-4765-83A7-99ECEACBDB7B}" dt="2025-11-19T08:57:57.374" v="304" actId="20577"/>
          <ac:spMkLst>
            <pc:docMk/>
            <pc:sldMk cId="2985693567" sldId="300"/>
            <ac:spMk id="2" creationId="{10FEF080-FE39-957F-D9B7-F0FB1D50B9A6}"/>
          </ac:spMkLst>
        </pc:spChg>
        <pc:spChg chg="mod ord">
          <ac:chgData name="Arlette Simon" userId="f8e6e685-e2ee-4044-a307-57648a3e1d7f" providerId="ADAL" clId="{E743E4AA-11AD-4765-83A7-99ECEACBDB7B}" dt="2025-11-19T08:57:52.820" v="303" actId="6549"/>
          <ac:spMkLst>
            <pc:docMk/>
            <pc:sldMk cId="2985693567" sldId="300"/>
            <ac:spMk id="3" creationId="{2F03F8AE-AB33-CBD1-2DA8-C71C19A5AEBD}"/>
          </ac:spMkLst>
        </pc:spChg>
        <pc:spChg chg="mod ord">
          <ac:chgData name="Arlette Simon" userId="f8e6e685-e2ee-4044-a307-57648a3e1d7f" providerId="ADAL" clId="{E743E4AA-11AD-4765-83A7-99ECEACBDB7B}" dt="2025-11-19T08:37:54.129" v="9" actId="6264"/>
          <ac:spMkLst>
            <pc:docMk/>
            <pc:sldMk cId="2985693567" sldId="300"/>
            <ac:spMk id="4" creationId="{9DB93770-2DA7-8B76-F5B4-D77ECC71B938}"/>
          </ac:spMkLst>
        </pc:spChg>
        <pc:spChg chg="mod ord">
          <ac:chgData name="Arlette Simon" userId="f8e6e685-e2ee-4044-a307-57648a3e1d7f" providerId="ADAL" clId="{E743E4AA-11AD-4765-83A7-99ECEACBDB7B}" dt="2025-11-19T08:37:54.129" v="9" actId="6264"/>
          <ac:spMkLst>
            <pc:docMk/>
            <pc:sldMk cId="2985693567" sldId="300"/>
            <ac:spMk id="5" creationId="{4EF6957D-796D-BF15-13B0-A1B305474CB7}"/>
          </ac:spMkLst>
        </pc:spChg>
        <pc:spChg chg="add del mod">
          <ac:chgData name="Arlette Simon" userId="f8e6e685-e2ee-4044-a307-57648a3e1d7f" providerId="ADAL" clId="{E743E4AA-11AD-4765-83A7-99ECEACBDB7B}" dt="2025-11-19T08:37:54.129" v="9" actId="6264"/>
          <ac:spMkLst>
            <pc:docMk/>
            <pc:sldMk cId="2985693567" sldId="300"/>
            <ac:spMk id="6" creationId="{EE91DF72-7C6B-B9E0-AC07-98EB693B53EF}"/>
          </ac:spMkLst>
        </pc:spChg>
        <pc:spChg chg="add del mod">
          <ac:chgData name="Arlette Simon" userId="f8e6e685-e2ee-4044-a307-57648a3e1d7f" providerId="ADAL" clId="{E743E4AA-11AD-4765-83A7-99ECEACBDB7B}" dt="2025-11-19T08:37:54.129" v="9" actId="6264"/>
          <ac:spMkLst>
            <pc:docMk/>
            <pc:sldMk cId="2985693567" sldId="300"/>
            <ac:spMk id="7" creationId="{B31FDA4D-7300-7239-A65B-09C43C121181}"/>
          </ac:spMkLst>
        </pc:spChg>
        <pc:spChg chg="add del mod">
          <ac:chgData name="Arlette Simon" userId="f8e6e685-e2ee-4044-a307-57648a3e1d7f" providerId="ADAL" clId="{E743E4AA-11AD-4765-83A7-99ECEACBDB7B}" dt="2025-11-19T08:37:54.129" v="9" actId="6264"/>
          <ac:spMkLst>
            <pc:docMk/>
            <pc:sldMk cId="2985693567" sldId="300"/>
            <ac:spMk id="8" creationId="{890BF81B-4F60-E623-C0F1-3652D9DD4C98}"/>
          </ac:spMkLst>
        </pc:spChg>
        <pc:spChg chg="add del mod">
          <ac:chgData name="Arlette Simon" userId="f8e6e685-e2ee-4044-a307-57648a3e1d7f" providerId="ADAL" clId="{E743E4AA-11AD-4765-83A7-99ECEACBDB7B}" dt="2025-11-19T08:37:54.129" v="9" actId="6264"/>
          <ac:spMkLst>
            <pc:docMk/>
            <pc:sldMk cId="2985693567" sldId="300"/>
            <ac:spMk id="9" creationId="{FA5CAAE7-0D1B-F86B-A8A3-E6F295D2DB8E}"/>
          </ac:spMkLst>
        </pc:spChg>
      </pc:sldChg>
      <pc:sldChg chg="addSp delSp modSp mod chgLayout">
        <pc:chgData name="Arlette Simon" userId="f8e6e685-e2ee-4044-a307-57648a3e1d7f" providerId="ADAL" clId="{E743E4AA-11AD-4765-83A7-99ECEACBDB7B}" dt="2025-11-19T08:58:03.739" v="305" actId="20577"/>
        <pc:sldMkLst>
          <pc:docMk/>
          <pc:sldMk cId="729542635" sldId="301"/>
        </pc:sldMkLst>
        <pc:spChg chg="mod ord">
          <ac:chgData name="Arlette Simon" userId="f8e6e685-e2ee-4044-a307-57648a3e1d7f" providerId="ADAL" clId="{E743E4AA-11AD-4765-83A7-99ECEACBDB7B}" dt="2025-11-19T08:58:03.739" v="305" actId="20577"/>
          <ac:spMkLst>
            <pc:docMk/>
            <pc:sldMk cId="729542635" sldId="301"/>
            <ac:spMk id="2" creationId="{A8984E09-BBAC-332C-CC9C-B09135097FA8}"/>
          </ac:spMkLst>
        </pc:spChg>
        <pc:spChg chg="mod ord">
          <ac:chgData name="Arlette Simon" userId="f8e6e685-e2ee-4044-a307-57648a3e1d7f" providerId="ADAL" clId="{E743E4AA-11AD-4765-83A7-99ECEACBDB7B}" dt="2025-11-19T08:39:16.721" v="25" actId="207"/>
          <ac:spMkLst>
            <pc:docMk/>
            <pc:sldMk cId="729542635" sldId="301"/>
            <ac:spMk id="3" creationId="{53A28CAA-9D94-A8C4-2102-A3B752DD5F8C}"/>
          </ac:spMkLst>
        </pc:spChg>
        <pc:spChg chg="mod ord">
          <ac:chgData name="Arlette Simon" userId="f8e6e685-e2ee-4044-a307-57648a3e1d7f" providerId="ADAL" clId="{E743E4AA-11AD-4765-83A7-99ECEACBDB7B}" dt="2025-11-19T08:38:21.021" v="13" actId="6264"/>
          <ac:spMkLst>
            <pc:docMk/>
            <pc:sldMk cId="729542635" sldId="301"/>
            <ac:spMk id="4" creationId="{6B8C6FD1-0206-372B-8BD4-053D676D16CF}"/>
          </ac:spMkLst>
        </pc:spChg>
        <pc:spChg chg="mod ord">
          <ac:chgData name="Arlette Simon" userId="f8e6e685-e2ee-4044-a307-57648a3e1d7f" providerId="ADAL" clId="{E743E4AA-11AD-4765-83A7-99ECEACBDB7B}" dt="2025-11-19T08:38:21.021" v="13" actId="6264"/>
          <ac:spMkLst>
            <pc:docMk/>
            <pc:sldMk cId="729542635" sldId="301"/>
            <ac:spMk id="5" creationId="{972956DB-333A-C92F-5958-11C59D7C7105}"/>
          </ac:spMkLst>
        </pc:spChg>
        <pc:spChg chg="add del mod">
          <ac:chgData name="Arlette Simon" userId="f8e6e685-e2ee-4044-a307-57648a3e1d7f" providerId="ADAL" clId="{E743E4AA-11AD-4765-83A7-99ECEACBDB7B}" dt="2025-11-19T08:38:21.021" v="13" actId="6264"/>
          <ac:spMkLst>
            <pc:docMk/>
            <pc:sldMk cId="729542635" sldId="301"/>
            <ac:spMk id="6" creationId="{85762F59-3C8F-909A-719C-0712B4F1049F}"/>
          </ac:spMkLst>
        </pc:spChg>
        <pc:spChg chg="add del mod">
          <ac:chgData name="Arlette Simon" userId="f8e6e685-e2ee-4044-a307-57648a3e1d7f" providerId="ADAL" clId="{E743E4AA-11AD-4765-83A7-99ECEACBDB7B}" dt="2025-11-19T08:38:21.021" v="13" actId="6264"/>
          <ac:spMkLst>
            <pc:docMk/>
            <pc:sldMk cId="729542635" sldId="301"/>
            <ac:spMk id="7" creationId="{ED334FB9-C1A7-996F-866B-1AD5EEDF70FF}"/>
          </ac:spMkLst>
        </pc:spChg>
        <pc:spChg chg="add del mod">
          <ac:chgData name="Arlette Simon" userId="f8e6e685-e2ee-4044-a307-57648a3e1d7f" providerId="ADAL" clId="{E743E4AA-11AD-4765-83A7-99ECEACBDB7B}" dt="2025-11-19T08:38:21.021" v="13" actId="6264"/>
          <ac:spMkLst>
            <pc:docMk/>
            <pc:sldMk cId="729542635" sldId="301"/>
            <ac:spMk id="8" creationId="{3D972A78-B091-2D44-035A-49DA45BF8552}"/>
          </ac:spMkLst>
        </pc:spChg>
        <pc:spChg chg="add del mod">
          <ac:chgData name="Arlette Simon" userId="f8e6e685-e2ee-4044-a307-57648a3e1d7f" providerId="ADAL" clId="{E743E4AA-11AD-4765-83A7-99ECEACBDB7B}" dt="2025-11-19T08:38:21.021" v="13" actId="6264"/>
          <ac:spMkLst>
            <pc:docMk/>
            <pc:sldMk cId="729542635" sldId="301"/>
            <ac:spMk id="9" creationId="{6C7BCD03-E2E6-2775-11E2-59734F3D1AD0}"/>
          </ac:spMkLst>
        </pc:spChg>
      </pc:sldChg>
      <pc:sldChg chg="addSp delSp modSp mod chgLayout">
        <pc:chgData name="Arlette Simon" userId="f8e6e685-e2ee-4044-a307-57648a3e1d7f" providerId="ADAL" clId="{E743E4AA-11AD-4765-83A7-99ECEACBDB7B}" dt="2025-11-19T08:39:36.536" v="35" actId="6549"/>
        <pc:sldMkLst>
          <pc:docMk/>
          <pc:sldMk cId="2562948996" sldId="302"/>
        </pc:sldMkLst>
        <pc:spChg chg="mod ord">
          <ac:chgData name="Arlette Simon" userId="f8e6e685-e2ee-4044-a307-57648a3e1d7f" providerId="ADAL" clId="{E743E4AA-11AD-4765-83A7-99ECEACBDB7B}" dt="2025-11-19T08:39:25.144" v="27" actId="20577"/>
          <ac:spMkLst>
            <pc:docMk/>
            <pc:sldMk cId="2562948996" sldId="302"/>
            <ac:spMk id="2" creationId="{D275A0E0-2CED-047B-39AD-E52C21289B04}"/>
          </ac:spMkLst>
        </pc:spChg>
        <pc:spChg chg="mod ord">
          <ac:chgData name="Arlette Simon" userId="f8e6e685-e2ee-4044-a307-57648a3e1d7f" providerId="ADAL" clId="{E743E4AA-11AD-4765-83A7-99ECEACBDB7B}" dt="2025-11-19T08:39:36.536" v="35" actId="6549"/>
          <ac:spMkLst>
            <pc:docMk/>
            <pc:sldMk cId="2562948996" sldId="302"/>
            <ac:spMk id="3" creationId="{E17A502F-EEA3-906D-22E3-712EA50E0F89}"/>
          </ac:spMkLst>
        </pc:spChg>
        <pc:spChg chg="mod ord">
          <ac:chgData name="Arlette Simon" userId="f8e6e685-e2ee-4044-a307-57648a3e1d7f" providerId="ADAL" clId="{E743E4AA-11AD-4765-83A7-99ECEACBDB7B}" dt="2025-11-19T08:39:22.917" v="26" actId="6264"/>
          <ac:spMkLst>
            <pc:docMk/>
            <pc:sldMk cId="2562948996" sldId="302"/>
            <ac:spMk id="4" creationId="{B2D89E62-A624-4CB6-2908-7A4BC52DDDA8}"/>
          </ac:spMkLst>
        </pc:spChg>
        <pc:spChg chg="mod ord">
          <ac:chgData name="Arlette Simon" userId="f8e6e685-e2ee-4044-a307-57648a3e1d7f" providerId="ADAL" clId="{E743E4AA-11AD-4765-83A7-99ECEACBDB7B}" dt="2025-11-19T08:39:22.917" v="26" actId="6264"/>
          <ac:spMkLst>
            <pc:docMk/>
            <pc:sldMk cId="2562948996" sldId="302"/>
            <ac:spMk id="5" creationId="{E0AB0163-C01D-30A4-7A7C-3905FA88EBBC}"/>
          </ac:spMkLst>
        </pc:spChg>
        <pc:spChg chg="add del mod">
          <ac:chgData name="Arlette Simon" userId="f8e6e685-e2ee-4044-a307-57648a3e1d7f" providerId="ADAL" clId="{E743E4AA-11AD-4765-83A7-99ECEACBDB7B}" dt="2025-11-19T08:39:22.917" v="26" actId="6264"/>
          <ac:spMkLst>
            <pc:docMk/>
            <pc:sldMk cId="2562948996" sldId="302"/>
            <ac:spMk id="6" creationId="{F86E9E56-23A1-5DDE-4A70-1BD05D261B7A}"/>
          </ac:spMkLst>
        </pc:spChg>
        <pc:spChg chg="add del mod">
          <ac:chgData name="Arlette Simon" userId="f8e6e685-e2ee-4044-a307-57648a3e1d7f" providerId="ADAL" clId="{E743E4AA-11AD-4765-83A7-99ECEACBDB7B}" dt="2025-11-19T08:39:22.917" v="26" actId="6264"/>
          <ac:spMkLst>
            <pc:docMk/>
            <pc:sldMk cId="2562948996" sldId="302"/>
            <ac:spMk id="7" creationId="{BB39734A-12D6-B80C-8709-084FA9236672}"/>
          </ac:spMkLst>
        </pc:spChg>
        <pc:spChg chg="add del mod">
          <ac:chgData name="Arlette Simon" userId="f8e6e685-e2ee-4044-a307-57648a3e1d7f" providerId="ADAL" clId="{E743E4AA-11AD-4765-83A7-99ECEACBDB7B}" dt="2025-11-19T08:39:22.917" v="26" actId="6264"/>
          <ac:spMkLst>
            <pc:docMk/>
            <pc:sldMk cId="2562948996" sldId="302"/>
            <ac:spMk id="8" creationId="{867DD212-DC01-4C56-340E-514DA72C9A1C}"/>
          </ac:spMkLst>
        </pc:spChg>
        <pc:spChg chg="add del mod">
          <ac:chgData name="Arlette Simon" userId="f8e6e685-e2ee-4044-a307-57648a3e1d7f" providerId="ADAL" clId="{E743E4AA-11AD-4765-83A7-99ECEACBDB7B}" dt="2025-11-19T08:39:22.917" v="26" actId="6264"/>
          <ac:spMkLst>
            <pc:docMk/>
            <pc:sldMk cId="2562948996" sldId="302"/>
            <ac:spMk id="9" creationId="{2BB0EFDA-D1D2-259F-A05C-0C3737F019AF}"/>
          </ac:spMkLst>
        </pc:spChg>
      </pc:sldChg>
      <pc:sldChg chg="addSp delSp modSp mod chgLayout">
        <pc:chgData name="Arlette Simon" userId="f8e6e685-e2ee-4044-a307-57648a3e1d7f" providerId="ADAL" clId="{E743E4AA-11AD-4765-83A7-99ECEACBDB7B}" dt="2025-11-19T08:58:26.697" v="307" actId="20577"/>
        <pc:sldMkLst>
          <pc:docMk/>
          <pc:sldMk cId="3493751918" sldId="303"/>
        </pc:sldMkLst>
        <pc:spChg chg="mod ord">
          <ac:chgData name="Arlette Simon" userId="f8e6e685-e2ee-4044-a307-57648a3e1d7f" providerId="ADAL" clId="{E743E4AA-11AD-4765-83A7-99ECEACBDB7B}" dt="2025-11-19T08:58:18.128" v="306" actId="20577"/>
          <ac:spMkLst>
            <pc:docMk/>
            <pc:sldMk cId="3493751918" sldId="303"/>
            <ac:spMk id="2" creationId="{C9231FEB-588F-F53A-7545-A99899A085E7}"/>
          </ac:spMkLst>
        </pc:spChg>
        <pc:spChg chg="mod ord">
          <ac:chgData name="Arlette Simon" userId="f8e6e685-e2ee-4044-a307-57648a3e1d7f" providerId="ADAL" clId="{E743E4AA-11AD-4765-83A7-99ECEACBDB7B}" dt="2025-11-19T08:58:26.697" v="307" actId="20577"/>
          <ac:spMkLst>
            <pc:docMk/>
            <pc:sldMk cId="3493751918" sldId="303"/>
            <ac:spMk id="3" creationId="{77A33F45-9068-2A46-ACB1-B3BD70C754C0}"/>
          </ac:spMkLst>
        </pc:spChg>
        <pc:spChg chg="mod ord">
          <ac:chgData name="Arlette Simon" userId="f8e6e685-e2ee-4044-a307-57648a3e1d7f" providerId="ADAL" clId="{E743E4AA-11AD-4765-83A7-99ECEACBDB7B}" dt="2025-11-19T08:39:47.108" v="36" actId="6264"/>
          <ac:spMkLst>
            <pc:docMk/>
            <pc:sldMk cId="3493751918" sldId="303"/>
            <ac:spMk id="4" creationId="{19AA9FEB-B86F-6058-B611-3233D4F445BD}"/>
          </ac:spMkLst>
        </pc:spChg>
        <pc:spChg chg="mod ord">
          <ac:chgData name="Arlette Simon" userId="f8e6e685-e2ee-4044-a307-57648a3e1d7f" providerId="ADAL" clId="{E743E4AA-11AD-4765-83A7-99ECEACBDB7B}" dt="2025-11-19T08:39:47.108" v="36" actId="6264"/>
          <ac:spMkLst>
            <pc:docMk/>
            <pc:sldMk cId="3493751918" sldId="303"/>
            <ac:spMk id="5" creationId="{5C9BFDE0-1C5D-A197-8C91-D764518A0489}"/>
          </ac:spMkLst>
        </pc:spChg>
        <pc:spChg chg="add del mod">
          <ac:chgData name="Arlette Simon" userId="f8e6e685-e2ee-4044-a307-57648a3e1d7f" providerId="ADAL" clId="{E743E4AA-11AD-4765-83A7-99ECEACBDB7B}" dt="2025-11-19T08:39:47.108" v="36" actId="6264"/>
          <ac:spMkLst>
            <pc:docMk/>
            <pc:sldMk cId="3493751918" sldId="303"/>
            <ac:spMk id="6" creationId="{CF491478-C776-3E36-5E40-34CF901A07EC}"/>
          </ac:spMkLst>
        </pc:spChg>
        <pc:spChg chg="add del mod">
          <ac:chgData name="Arlette Simon" userId="f8e6e685-e2ee-4044-a307-57648a3e1d7f" providerId="ADAL" clId="{E743E4AA-11AD-4765-83A7-99ECEACBDB7B}" dt="2025-11-19T08:39:47.108" v="36" actId="6264"/>
          <ac:spMkLst>
            <pc:docMk/>
            <pc:sldMk cId="3493751918" sldId="303"/>
            <ac:spMk id="7" creationId="{403449F0-E7A1-BE4A-B80A-07921EDDB63D}"/>
          </ac:spMkLst>
        </pc:spChg>
        <pc:spChg chg="add del mod">
          <ac:chgData name="Arlette Simon" userId="f8e6e685-e2ee-4044-a307-57648a3e1d7f" providerId="ADAL" clId="{E743E4AA-11AD-4765-83A7-99ECEACBDB7B}" dt="2025-11-19T08:39:47.108" v="36" actId="6264"/>
          <ac:spMkLst>
            <pc:docMk/>
            <pc:sldMk cId="3493751918" sldId="303"/>
            <ac:spMk id="8" creationId="{7AADBA51-162E-6379-C2D4-DB7F11704CF9}"/>
          </ac:spMkLst>
        </pc:spChg>
        <pc:spChg chg="add del mod">
          <ac:chgData name="Arlette Simon" userId="f8e6e685-e2ee-4044-a307-57648a3e1d7f" providerId="ADAL" clId="{E743E4AA-11AD-4765-83A7-99ECEACBDB7B}" dt="2025-11-19T08:39:47.108" v="36" actId="6264"/>
          <ac:spMkLst>
            <pc:docMk/>
            <pc:sldMk cId="3493751918" sldId="303"/>
            <ac:spMk id="9" creationId="{EE223690-1DDE-6753-1331-E637A9ED211C}"/>
          </ac:spMkLst>
        </pc:spChg>
      </pc:sldChg>
      <pc:sldChg chg="addSp delSp modSp mod chgLayout">
        <pc:chgData name="Arlette Simon" userId="f8e6e685-e2ee-4044-a307-57648a3e1d7f" providerId="ADAL" clId="{E743E4AA-11AD-4765-83A7-99ECEACBDB7B}" dt="2025-11-19T08:41:39.737" v="68" actId="20577"/>
        <pc:sldMkLst>
          <pc:docMk/>
          <pc:sldMk cId="2822470571" sldId="304"/>
        </pc:sldMkLst>
        <pc:spChg chg="mod ord">
          <ac:chgData name="Arlette Simon" userId="f8e6e685-e2ee-4044-a307-57648a3e1d7f" providerId="ADAL" clId="{E743E4AA-11AD-4765-83A7-99ECEACBDB7B}" dt="2025-11-19T08:41:04.330" v="55" actId="6264"/>
          <ac:spMkLst>
            <pc:docMk/>
            <pc:sldMk cId="2822470571" sldId="304"/>
            <ac:spMk id="2" creationId="{EA9DE8E5-369E-FD39-2CF2-0C6985BB750C}"/>
          </ac:spMkLst>
        </pc:spChg>
        <pc:spChg chg="mod ord">
          <ac:chgData name="Arlette Simon" userId="f8e6e685-e2ee-4044-a307-57648a3e1d7f" providerId="ADAL" clId="{E743E4AA-11AD-4765-83A7-99ECEACBDB7B}" dt="2025-11-19T08:41:39.737" v="68" actId="20577"/>
          <ac:spMkLst>
            <pc:docMk/>
            <pc:sldMk cId="2822470571" sldId="304"/>
            <ac:spMk id="3" creationId="{85A341D2-C06B-D8A4-C69D-0A039A32E31D}"/>
          </ac:spMkLst>
        </pc:spChg>
        <pc:spChg chg="mod ord">
          <ac:chgData name="Arlette Simon" userId="f8e6e685-e2ee-4044-a307-57648a3e1d7f" providerId="ADAL" clId="{E743E4AA-11AD-4765-83A7-99ECEACBDB7B}" dt="2025-11-19T08:41:04.330" v="55" actId="6264"/>
          <ac:spMkLst>
            <pc:docMk/>
            <pc:sldMk cId="2822470571" sldId="304"/>
            <ac:spMk id="4" creationId="{38A7F5FB-8983-EAC6-306A-279FC659ACA7}"/>
          </ac:spMkLst>
        </pc:spChg>
        <pc:spChg chg="mod ord">
          <ac:chgData name="Arlette Simon" userId="f8e6e685-e2ee-4044-a307-57648a3e1d7f" providerId="ADAL" clId="{E743E4AA-11AD-4765-83A7-99ECEACBDB7B}" dt="2025-11-19T08:41:04.330" v="55" actId="6264"/>
          <ac:spMkLst>
            <pc:docMk/>
            <pc:sldMk cId="2822470571" sldId="304"/>
            <ac:spMk id="5" creationId="{7280A91B-7F5A-3703-F134-2C3C04A34A3E}"/>
          </ac:spMkLst>
        </pc:spChg>
        <pc:spChg chg="add del mod">
          <ac:chgData name="Arlette Simon" userId="f8e6e685-e2ee-4044-a307-57648a3e1d7f" providerId="ADAL" clId="{E743E4AA-11AD-4765-83A7-99ECEACBDB7B}" dt="2025-11-19T08:41:04.330" v="55" actId="6264"/>
          <ac:spMkLst>
            <pc:docMk/>
            <pc:sldMk cId="2822470571" sldId="304"/>
            <ac:spMk id="6" creationId="{EC99411C-2AD9-FAF5-47F7-68DC30401390}"/>
          </ac:spMkLst>
        </pc:spChg>
        <pc:spChg chg="add del mod">
          <ac:chgData name="Arlette Simon" userId="f8e6e685-e2ee-4044-a307-57648a3e1d7f" providerId="ADAL" clId="{E743E4AA-11AD-4765-83A7-99ECEACBDB7B}" dt="2025-11-19T08:41:04.330" v="55" actId="6264"/>
          <ac:spMkLst>
            <pc:docMk/>
            <pc:sldMk cId="2822470571" sldId="304"/>
            <ac:spMk id="7" creationId="{384B9396-EBA6-8CBD-80DD-714C6F5B3179}"/>
          </ac:spMkLst>
        </pc:spChg>
        <pc:spChg chg="add del mod">
          <ac:chgData name="Arlette Simon" userId="f8e6e685-e2ee-4044-a307-57648a3e1d7f" providerId="ADAL" clId="{E743E4AA-11AD-4765-83A7-99ECEACBDB7B}" dt="2025-11-19T08:41:04.330" v="55" actId="6264"/>
          <ac:spMkLst>
            <pc:docMk/>
            <pc:sldMk cId="2822470571" sldId="304"/>
            <ac:spMk id="8" creationId="{493DB076-1236-A35C-44D4-8E2842A9B39C}"/>
          </ac:spMkLst>
        </pc:spChg>
        <pc:spChg chg="add del mod">
          <ac:chgData name="Arlette Simon" userId="f8e6e685-e2ee-4044-a307-57648a3e1d7f" providerId="ADAL" clId="{E743E4AA-11AD-4765-83A7-99ECEACBDB7B}" dt="2025-11-19T08:41:04.330" v="55" actId="6264"/>
          <ac:spMkLst>
            <pc:docMk/>
            <pc:sldMk cId="2822470571" sldId="304"/>
            <ac:spMk id="9" creationId="{066988CB-DC8E-3ECF-1030-58EA24842370}"/>
          </ac:spMkLst>
        </pc:spChg>
      </pc:sldChg>
      <pc:sldChg chg="addSp delSp modSp mod chgLayout">
        <pc:chgData name="Arlette Simon" userId="f8e6e685-e2ee-4044-a307-57648a3e1d7f" providerId="ADAL" clId="{E743E4AA-11AD-4765-83A7-99ECEACBDB7B}" dt="2025-11-19T08:37:13.853" v="5" actId="207"/>
        <pc:sldMkLst>
          <pc:docMk/>
          <pc:sldMk cId="1393523060" sldId="305"/>
        </pc:sldMkLst>
        <pc:spChg chg="mod">
          <ac:chgData name="Arlette Simon" userId="f8e6e685-e2ee-4044-a307-57648a3e1d7f" providerId="ADAL" clId="{E743E4AA-11AD-4765-83A7-99ECEACBDB7B}" dt="2025-11-19T08:37:13.853" v="5" actId="207"/>
          <ac:spMkLst>
            <pc:docMk/>
            <pc:sldMk cId="1393523060" sldId="305"/>
            <ac:spMk id="2" creationId="{7E6A6514-FD73-3EA6-81A2-C0A473E444D4}"/>
          </ac:spMkLst>
        </pc:spChg>
        <pc:spChg chg="add del mod">
          <ac:chgData name="Arlette Simon" userId="f8e6e685-e2ee-4044-a307-57648a3e1d7f" providerId="ADAL" clId="{E743E4AA-11AD-4765-83A7-99ECEACBDB7B}" dt="2025-11-19T08:37:07.660" v="2" actId="6264"/>
          <ac:spMkLst>
            <pc:docMk/>
            <pc:sldMk cId="1393523060" sldId="305"/>
            <ac:spMk id="3" creationId="{B6BF9014-2A9B-7C59-75FA-559C402D22F1}"/>
          </ac:spMkLst>
        </pc:spChg>
        <pc:spChg chg="mod ord">
          <ac:chgData name="Arlette Simon" userId="f8e6e685-e2ee-4044-a307-57648a3e1d7f" providerId="ADAL" clId="{E743E4AA-11AD-4765-83A7-99ECEACBDB7B}" dt="2025-11-19T08:37:07.660" v="2" actId="6264"/>
          <ac:spMkLst>
            <pc:docMk/>
            <pc:sldMk cId="1393523060" sldId="305"/>
            <ac:spMk id="5" creationId="{F71B29D6-A328-C669-0885-7DFB7AFAAA7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3BB5DF7-B4BC-C64D-AEE5-503D3E51D54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DF46DD32-A931-9E47-7CD8-B421FC3B202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7D01B18-DE69-4A67-8290-13CB8042B051}" type="datetimeFigureOut">
              <a:rPr lang="fr-FR" smtClean="0"/>
              <a:t>19/11/2025</a:t>
            </a:fld>
            <a:endParaRPr lang="fr-FR"/>
          </a:p>
        </p:txBody>
      </p:sp>
      <p:sp>
        <p:nvSpPr>
          <p:cNvPr id="4" name="Espace réservé du pied de page 3">
            <a:extLst>
              <a:ext uri="{FF2B5EF4-FFF2-40B4-BE49-F238E27FC236}">
                <a16:creationId xmlns:a16="http://schemas.microsoft.com/office/drawing/2014/main" id="{6913725C-3393-7797-0319-945D5E49BC8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1F2EF00D-598F-9757-33C0-32FFCAAF2EF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6A306D6-3450-493E-B0A5-E572F674A27E}" type="slidenum">
              <a:rPr lang="fr-FR" smtClean="0"/>
              <a:t>‹#›</a:t>
            </a:fld>
            <a:endParaRPr lang="fr-FR"/>
          </a:p>
        </p:txBody>
      </p:sp>
    </p:spTree>
    <p:extLst>
      <p:ext uri="{BB962C8B-B14F-4D97-AF65-F5344CB8AC3E}">
        <p14:creationId xmlns:p14="http://schemas.microsoft.com/office/powerpoint/2010/main" val="263772961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441163-6C24-4CC0-BCCC-5D61B244F3C5}" type="datetimeFigureOut">
              <a:rPr lang="fr-FR" smtClean="0"/>
              <a:t>19/11/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85523A-25F9-4C99-8774-62F4A68F5D34}" type="slidenum">
              <a:rPr lang="fr-FR" smtClean="0"/>
              <a:t>‹#›</a:t>
            </a:fld>
            <a:endParaRPr lang="fr-FR"/>
          </a:p>
        </p:txBody>
      </p:sp>
    </p:spTree>
    <p:extLst>
      <p:ext uri="{BB962C8B-B14F-4D97-AF65-F5344CB8AC3E}">
        <p14:creationId xmlns:p14="http://schemas.microsoft.com/office/powerpoint/2010/main" val="1147722005"/>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fr-FR"/>
          </a:p>
        </p:txBody>
      </p:sp>
      <p:sp>
        <p:nvSpPr>
          <p:cNvPr id="5" name="Espace réservé du numéro de diapositive 4"/>
          <p:cNvSpPr>
            <a:spLocks noGrp="1"/>
          </p:cNvSpPr>
          <p:nvPr>
            <p:ph type="sldNum" sz="quarter" idx="5"/>
          </p:nvPr>
        </p:nvSpPr>
        <p:spPr/>
        <p:txBody>
          <a:bodyPr/>
          <a:lstStyle/>
          <a:p>
            <a:fld id="{D885523A-25F9-4C99-8774-62F4A68F5D34}" type="slidenum">
              <a:rPr lang="fr-FR" smtClean="0"/>
              <a:t>12</a:t>
            </a:fld>
            <a:endParaRPr lang="fr-FR"/>
          </a:p>
        </p:txBody>
      </p:sp>
    </p:spTree>
    <p:extLst>
      <p:ext uri="{BB962C8B-B14F-4D97-AF65-F5344CB8AC3E}">
        <p14:creationId xmlns:p14="http://schemas.microsoft.com/office/powerpoint/2010/main" val="384343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D885523A-25F9-4C99-8774-62F4A68F5D34}" type="slidenum">
              <a:rPr lang="fr-FR" smtClean="0"/>
              <a:t>16</a:t>
            </a:fld>
            <a:endParaRPr lang="fr-FR"/>
          </a:p>
        </p:txBody>
      </p:sp>
      <p:sp>
        <p:nvSpPr>
          <p:cNvPr id="6" name="Espace réservé du pied de page 5">
            <a:extLst>
              <a:ext uri="{FF2B5EF4-FFF2-40B4-BE49-F238E27FC236}">
                <a16:creationId xmlns:a16="http://schemas.microsoft.com/office/drawing/2014/main" id="{470E1D95-D4D6-901C-4298-4F4824638DC7}"/>
              </a:ext>
            </a:extLst>
          </p:cNvPr>
          <p:cNvSpPr>
            <a:spLocks noGrp="1"/>
          </p:cNvSpPr>
          <p:nvPr>
            <p:ph type="ftr" sz="quarter" idx="4"/>
          </p:nvPr>
        </p:nvSpPr>
        <p:spPr/>
        <p:txBody>
          <a:bodyPr/>
          <a:lstStyle/>
          <a:p>
            <a:endParaRPr lang="fr-FR"/>
          </a:p>
        </p:txBody>
      </p:sp>
    </p:spTree>
    <p:extLst>
      <p:ext uri="{BB962C8B-B14F-4D97-AF65-F5344CB8AC3E}">
        <p14:creationId xmlns:p14="http://schemas.microsoft.com/office/powerpoint/2010/main" val="185471259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122363"/>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sp>
        <p:nvSpPr>
          <p:cNvPr id="3" name="Subtitle 2">
            <a:extLst>
              <a:ext uri="{FF2B5EF4-FFF2-40B4-BE49-F238E27FC236}">
                <a16:creationId xmlns:a16="http://schemas.microsoft.com/office/drawing/2014/main" id="{E2A4A518-DAE8-9CB5-9DB8-C3F32813749C}"/>
              </a:ext>
            </a:extLst>
          </p:cNvPr>
          <p:cNvSpPr>
            <a:spLocks noGrp="1"/>
          </p:cNvSpPr>
          <p:nvPr>
            <p:ph type="subTitle" idx="1"/>
          </p:nvPr>
        </p:nvSpPr>
        <p:spPr>
          <a:xfrm>
            <a:off x="756745" y="3602038"/>
            <a:ext cx="5339255" cy="1655762"/>
          </a:xfrm>
        </p:spPr>
        <p:txBody>
          <a:bodyPr lIns="0">
            <a:no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7027475" y="513557"/>
            <a:ext cx="4787032" cy="5830886"/>
          </a:xfrm>
          <a:prstGeom prst="rect">
            <a:avLst/>
          </a:prstGeom>
        </p:spPr>
      </p:pic>
      <p:cxnSp>
        <p:nvCxnSpPr>
          <p:cNvPr id="16" name="Straight Connector 15">
            <a:extLst>
              <a:ext uri="{FF2B5EF4-FFF2-40B4-BE49-F238E27FC236}">
                <a16:creationId xmlns:a16="http://schemas.microsoft.com/office/drawing/2014/main" id="{017A60DB-83C2-D8FF-A045-A8905BD7A906}"/>
              </a:ext>
            </a:extLst>
          </p:cNvPr>
          <p:cNvCxnSpPr>
            <a:cxnSpLocks/>
          </p:cNvCxnSpPr>
          <p:nvPr userDrawn="1"/>
        </p:nvCxnSpPr>
        <p:spPr>
          <a:xfrm>
            <a:off x="4372924" y="513557"/>
            <a:ext cx="169333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46" name="Graphic 45">
            <a:extLst>
              <a:ext uri="{FF2B5EF4-FFF2-40B4-BE49-F238E27FC236}">
                <a16:creationId xmlns:a16="http://schemas.microsoft.com/office/drawing/2014/main" id="{14200E11-27AA-B558-D4FD-F99DD2BC149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5503" y="346694"/>
            <a:ext cx="3501697" cy="424963"/>
          </a:xfrm>
          <a:prstGeom prst="rect">
            <a:avLst/>
          </a:prstGeom>
        </p:spPr>
      </p:pic>
      <p:pic>
        <p:nvPicPr>
          <p:cNvPr id="50" name="Picture 49" descr="A black background with white text&#10;&#10;AI-generated content may be incorrect.">
            <a:extLst>
              <a:ext uri="{FF2B5EF4-FFF2-40B4-BE49-F238E27FC236}">
                <a16:creationId xmlns:a16="http://schemas.microsoft.com/office/drawing/2014/main" id="{B6465AA7-E92A-1BFC-9C76-7A8A28E1B82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35966" y="6168613"/>
            <a:ext cx="2006652" cy="526536"/>
          </a:xfrm>
          <a:prstGeom prst="rect">
            <a:avLst/>
          </a:prstGeom>
        </p:spPr>
      </p:pic>
    </p:spTree>
    <p:extLst>
      <p:ext uri="{BB962C8B-B14F-4D97-AF65-F5344CB8AC3E}">
        <p14:creationId xmlns:p14="http://schemas.microsoft.com/office/powerpoint/2010/main" val="33300732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chapitr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320519"/>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6952197" y="935421"/>
            <a:ext cx="4552652" cy="5545396"/>
          </a:xfrm>
          <a:prstGeom prst="rect">
            <a:avLst/>
          </a:prstGeom>
        </p:spPr>
      </p:pic>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808744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p:txBody>
          <a:bodyPr/>
          <a:lstStyle>
            <a:lvl1pPr marL="0" indent="0">
              <a:buNone/>
              <a:defRPr sz="1800"/>
            </a:lvl1pPr>
            <a:lvl2pPr marL="266700" indent="-266700">
              <a:buClr>
                <a:schemeClr val="bg2"/>
              </a:buClr>
              <a:buFont typeface="Wingdings" panose="05000000000000000000" pitchFamily="2" charset="2"/>
              <a:buChar char=""/>
              <a:defRPr/>
            </a:lvl2pPr>
            <a:lvl3pPr marL="538163" indent="-228600">
              <a:buClr>
                <a:schemeClr val="bg2"/>
              </a:buClr>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a:t>
            </a:fld>
            <a:endParaRPr lang="fr-FR"/>
          </a:p>
        </p:txBody>
      </p:sp>
    </p:spTree>
    <p:extLst>
      <p:ext uri="{BB962C8B-B14F-4D97-AF65-F5344CB8AC3E}">
        <p14:creationId xmlns:p14="http://schemas.microsoft.com/office/powerpoint/2010/main" val="992641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a:t>
            </a:fld>
            <a:endParaRPr lang="fr-FR"/>
          </a:p>
        </p:txBody>
      </p:sp>
    </p:spTree>
    <p:extLst>
      <p:ext uri="{BB962C8B-B14F-4D97-AF65-F5344CB8AC3E}">
        <p14:creationId xmlns:p14="http://schemas.microsoft.com/office/powerpoint/2010/main" val="4185477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Sommaire">
    <p:bg>
      <p:bgPr>
        <a:solidFill>
          <a:schemeClr val="bg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a:xfrm>
            <a:off x="5055477" y="1845686"/>
            <a:ext cx="6450724" cy="3978275"/>
          </a:xfrm>
        </p:spPr>
        <p:txBody>
          <a:bodyPr/>
          <a:lstStyle>
            <a:lvl1pPr marL="0" indent="0">
              <a:spcBef>
                <a:spcPts val="1800"/>
              </a:spcBef>
              <a:buNone/>
              <a:tabLst>
                <a:tab pos="5024438" algn="r"/>
                <a:tab pos="6011863" algn="r"/>
              </a:tabLst>
              <a:defRPr sz="1800">
                <a:solidFill>
                  <a:schemeClr val="bg1"/>
                </a:solidFill>
              </a:defRPr>
            </a:lvl1pPr>
            <a:lvl2pPr marL="266700" indent="-266700">
              <a:buClr>
                <a:schemeClr val="bg2"/>
              </a:buClr>
              <a:buFont typeface="Wingdings" panose="05000000000000000000" pitchFamily="2" charset="2"/>
              <a:buChar char=""/>
              <a:defRPr>
                <a:solidFill>
                  <a:schemeClr val="bg1"/>
                </a:solidFill>
              </a:defRPr>
            </a:lvl2pPr>
            <a:lvl3pPr marL="538163" indent="-228600">
              <a:buClr>
                <a:schemeClr val="bg2"/>
              </a:buClr>
              <a:buFont typeface="Arial" panose="020B0604020202020204" pitchFamily="34" charset="0"/>
              <a:buChar cha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lvl1pPr>
              <a:defRPr>
                <a:solidFill>
                  <a:schemeClr val="bg1"/>
                </a:solidFill>
              </a:defRPr>
            </a:lvl1pPr>
          </a:lstStyle>
          <a:p>
            <a:endParaRPr lang="fr-FR" dirty="0"/>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a:t>
            </a:fld>
            <a:endParaRPr lang="fr-FR"/>
          </a:p>
        </p:txBody>
      </p:sp>
      <p:pic>
        <p:nvPicPr>
          <p:cNvPr id="4" name="Graphic 3">
            <a:extLst>
              <a:ext uri="{FF2B5EF4-FFF2-40B4-BE49-F238E27FC236}">
                <a16:creationId xmlns:a16="http://schemas.microsoft.com/office/drawing/2014/main" id="{9C465069-7274-E74A-BEEA-4FD2189E98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5503" y="5823961"/>
            <a:ext cx="1459036" cy="753051"/>
          </a:xfrm>
          <a:prstGeom prst="rect">
            <a:avLst/>
          </a:prstGeom>
        </p:spPr>
      </p:pic>
      <p:cxnSp>
        <p:nvCxnSpPr>
          <p:cNvPr id="7" name="Straight Connector 6">
            <a:extLst>
              <a:ext uri="{FF2B5EF4-FFF2-40B4-BE49-F238E27FC236}">
                <a16:creationId xmlns:a16="http://schemas.microsoft.com/office/drawing/2014/main" id="{5638BB7D-92AD-A1F8-DBDE-456B130AB5F9}"/>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1" name="Graphic 9">
            <a:extLst>
              <a:ext uri="{FF2B5EF4-FFF2-40B4-BE49-F238E27FC236}">
                <a16:creationId xmlns:a16="http://schemas.microsoft.com/office/drawing/2014/main" id="{71FAA7C2-F91D-4C55-61F7-FCEB56D3C617}"/>
              </a:ext>
            </a:extLst>
          </p:cNvPr>
          <p:cNvSpPr/>
          <p:nvPr/>
        </p:nvSpPr>
        <p:spPr>
          <a:xfrm>
            <a:off x="1" y="-1240"/>
            <a:ext cx="3235915" cy="2802542"/>
          </a:xfrm>
          <a:custGeom>
            <a:avLst/>
            <a:gdLst>
              <a:gd name="connsiteX0" fmla="*/ 3235915 w 3235915"/>
              <a:gd name="connsiteY0" fmla="*/ 2802541 h 3736721"/>
              <a:gd name="connsiteX1" fmla="*/ 3235915 w 3235915"/>
              <a:gd name="connsiteY1" fmla="*/ 934180 h 3736721"/>
              <a:gd name="connsiteX2" fmla="*/ 1617958 w 3235915"/>
              <a:gd name="connsiteY2" fmla="*/ 0 h 3736721"/>
              <a:gd name="connsiteX3" fmla="*/ 0 w 3235915"/>
              <a:gd name="connsiteY3" fmla="*/ 934180 h 3736721"/>
              <a:gd name="connsiteX4" fmla="*/ 0 w 3235915"/>
              <a:gd name="connsiteY4" fmla="*/ 2802541 h 3736721"/>
              <a:gd name="connsiteX5" fmla="*/ 1617958 w 3235915"/>
              <a:gd name="connsiteY5" fmla="*/ 3736722 h 3736721"/>
              <a:gd name="connsiteX6" fmla="*/ 3235915 w 3235915"/>
              <a:gd name="connsiteY6" fmla="*/ 2802541 h 3736721"/>
              <a:gd name="connsiteX0" fmla="*/ 3235915 w 3235915"/>
              <a:gd name="connsiteY0" fmla="*/ 1868361 h 2802542"/>
              <a:gd name="connsiteX1" fmla="*/ 3235915 w 3235915"/>
              <a:gd name="connsiteY1" fmla="*/ 0 h 2802542"/>
              <a:gd name="connsiteX2" fmla="*/ 0 w 3235915"/>
              <a:gd name="connsiteY2" fmla="*/ 0 h 2802542"/>
              <a:gd name="connsiteX3" fmla="*/ 0 w 3235915"/>
              <a:gd name="connsiteY3" fmla="*/ 1868361 h 2802542"/>
              <a:gd name="connsiteX4" fmla="*/ 1617958 w 3235915"/>
              <a:gd name="connsiteY4" fmla="*/ 2802542 h 2802542"/>
              <a:gd name="connsiteX5" fmla="*/ 3235915 w 3235915"/>
              <a:gd name="connsiteY5" fmla="*/ 1868361 h 280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5915" h="2802542">
                <a:moveTo>
                  <a:pt x="3235915" y="1868361"/>
                </a:moveTo>
                <a:lnTo>
                  <a:pt x="3235915" y="0"/>
                </a:lnTo>
                <a:lnTo>
                  <a:pt x="0" y="0"/>
                </a:lnTo>
                <a:lnTo>
                  <a:pt x="0" y="1868361"/>
                </a:lnTo>
                <a:lnTo>
                  <a:pt x="1617958" y="2802542"/>
                </a:lnTo>
                <a:lnTo>
                  <a:pt x="3235915" y="1868361"/>
                </a:lnTo>
                <a:close/>
              </a:path>
            </a:pathLst>
          </a:custGeom>
          <a:solidFill>
            <a:srgbClr val="DEB728"/>
          </a:solidFill>
          <a:ln w="44847" cap="flat">
            <a:noFill/>
            <a:prstDash val="solid"/>
            <a:miter/>
          </a:ln>
        </p:spPr>
        <p:txBody>
          <a:bodyPr rtlCol="0" anchor="ctr"/>
          <a:lstStyle/>
          <a:p>
            <a:endParaRPr lang="fr-FR"/>
          </a:p>
        </p:txBody>
      </p:sp>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a:xfrm>
            <a:off x="-31530" y="741524"/>
            <a:ext cx="3236815" cy="919221"/>
          </a:xfrm>
        </p:spPr>
        <p:txBody>
          <a:bodyPr/>
          <a:lstStyle>
            <a:lvl1pPr algn="ctr">
              <a:defRPr sz="4000">
                <a:solidFill>
                  <a:schemeClr val="bg1"/>
                </a:solidFill>
              </a:defRPr>
            </a:lvl1pPr>
          </a:lstStyle>
          <a:p>
            <a:r>
              <a:rPr lang="en-US" dirty="0"/>
              <a:t>Click to edit Master title style</a:t>
            </a:r>
            <a:endParaRPr lang="fr-FR" dirty="0"/>
          </a:p>
        </p:txBody>
      </p:sp>
    </p:spTree>
    <p:extLst>
      <p:ext uri="{BB962C8B-B14F-4D97-AF65-F5344CB8AC3E}">
        <p14:creationId xmlns:p14="http://schemas.microsoft.com/office/powerpoint/2010/main" val="3006618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onnes de tex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8FF04-27B5-99A4-54D7-391D641FD39B}"/>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183342EC-4F72-A21B-5733-D7FBF778E2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a:extLst>
              <a:ext uri="{FF2B5EF4-FFF2-40B4-BE49-F238E27FC236}">
                <a16:creationId xmlns:a16="http://schemas.microsoft.com/office/drawing/2014/main" id="{D816EA55-D0A2-3A48-5823-DAA76F1977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a:extLst>
              <a:ext uri="{FF2B5EF4-FFF2-40B4-BE49-F238E27FC236}">
                <a16:creationId xmlns:a16="http://schemas.microsoft.com/office/drawing/2014/main" id="{F351D1E9-0E41-24DC-CF2F-D863ABC71ECF}"/>
              </a:ext>
            </a:extLst>
          </p:cNvPr>
          <p:cNvSpPr>
            <a:spLocks noGrp="1"/>
          </p:cNvSpPr>
          <p:nvPr>
            <p:ph type="dt" sz="half" idx="10"/>
          </p:nvPr>
        </p:nvSpPr>
        <p:spPr>
          <a:xfrm>
            <a:off x="838200" y="6356350"/>
            <a:ext cx="2743200" cy="365125"/>
          </a:xfrm>
          <a:prstGeom prst="rect">
            <a:avLst/>
          </a:prstGeom>
        </p:spPr>
        <p:txBody>
          <a:bodyPr/>
          <a:lstStyle/>
          <a:p>
            <a:endParaRPr lang="fr-FR"/>
          </a:p>
        </p:txBody>
      </p:sp>
      <p:sp>
        <p:nvSpPr>
          <p:cNvPr id="6" name="Footer Placeholder 5">
            <a:extLst>
              <a:ext uri="{FF2B5EF4-FFF2-40B4-BE49-F238E27FC236}">
                <a16:creationId xmlns:a16="http://schemas.microsoft.com/office/drawing/2014/main" id="{B97D4DE2-6460-5E2A-8CDF-0A699300E84B}"/>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BA1DAF26-D2EC-2225-C07C-721BEBB27A9E}"/>
              </a:ext>
            </a:extLst>
          </p:cNvPr>
          <p:cNvSpPr>
            <a:spLocks noGrp="1"/>
          </p:cNvSpPr>
          <p:nvPr>
            <p:ph type="sldNum" sz="quarter" idx="12"/>
          </p:nvPr>
        </p:nvSpPr>
        <p:spPr/>
        <p:txBody>
          <a:bodyPr/>
          <a:lstStyle/>
          <a:p>
            <a:fld id="{8415421A-8635-4166-92D2-5F6D44CB9F91}" type="slidenum">
              <a:rPr lang="fr-FR" smtClean="0"/>
              <a:t>‹#›</a:t>
            </a:fld>
            <a:endParaRPr lang="fr-FR"/>
          </a:p>
        </p:txBody>
      </p:sp>
    </p:spTree>
    <p:extLst>
      <p:ext uri="{BB962C8B-B14F-4D97-AF65-F5344CB8AC3E}">
        <p14:creationId xmlns:p14="http://schemas.microsoft.com/office/powerpoint/2010/main" val="1852141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4.sv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412FCA-B349-FEB3-5FA2-79F10495A1BC}"/>
              </a:ext>
            </a:extLst>
          </p:cNvPr>
          <p:cNvSpPr>
            <a:spLocks noGrp="1"/>
          </p:cNvSpPr>
          <p:nvPr>
            <p:ph type="title"/>
          </p:nvPr>
        </p:nvSpPr>
        <p:spPr>
          <a:xfrm>
            <a:off x="838200" y="365126"/>
            <a:ext cx="9321800" cy="919221"/>
          </a:xfrm>
          <a:prstGeom prst="rect">
            <a:avLst/>
          </a:prstGeom>
        </p:spPr>
        <p:txBody>
          <a:bodyPr vert="horz" lIns="91440" tIns="45720" rIns="91440" bIns="45720" rtlCol="0" anchor="t" anchorCtr="0">
            <a:noAutofit/>
          </a:bodyPr>
          <a:lstStyle/>
          <a:p>
            <a:r>
              <a:rPr lang="en-US" dirty="0"/>
              <a:t>Click to edit Master title style</a:t>
            </a:r>
            <a:endParaRPr lang="fr-FR" dirty="0"/>
          </a:p>
        </p:txBody>
      </p:sp>
      <p:sp>
        <p:nvSpPr>
          <p:cNvPr id="3" name="Text Placeholder 2">
            <a:extLst>
              <a:ext uri="{FF2B5EF4-FFF2-40B4-BE49-F238E27FC236}">
                <a16:creationId xmlns:a16="http://schemas.microsoft.com/office/drawing/2014/main" id="{494FC7A9-F72F-7765-71C5-5743C9DD751A}"/>
              </a:ext>
            </a:extLst>
          </p:cNvPr>
          <p:cNvSpPr>
            <a:spLocks noGrp="1"/>
          </p:cNvSpPr>
          <p:nvPr>
            <p:ph type="body" idx="1"/>
          </p:nvPr>
        </p:nvSpPr>
        <p:spPr>
          <a:xfrm>
            <a:off x="838200" y="1825625"/>
            <a:ext cx="10515600" cy="3978275"/>
          </a:xfrm>
          <a:prstGeom prst="rect">
            <a:avLst/>
          </a:prstGeom>
        </p:spPr>
        <p:txBody>
          <a:bodyPr vert="horz" lIns="91440" tIns="45720" rIns="91440" bIns="4572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602C904-47A6-C127-8A54-344A347F27C4}"/>
              </a:ext>
            </a:extLst>
          </p:cNvPr>
          <p:cNvSpPr>
            <a:spLocks noGrp="1"/>
          </p:cNvSpPr>
          <p:nvPr>
            <p:ph type="ftr" sz="quarter" idx="3"/>
          </p:nvPr>
        </p:nvSpPr>
        <p:spPr>
          <a:xfrm>
            <a:off x="3774017" y="6247648"/>
            <a:ext cx="4643966"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fr-FR" dirty="0"/>
          </a:p>
        </p:txBody>
      </p:sp>
      <p:pic>
        <p:nvPicPr>
          <p:cNvPr id="8" name="Picture 7" descr="A black and yellow logo&#10;&#10;AI-generated content may be incorrect.">
            <a:extLst>
              <a:ext uri="{FF2B5EF4-FFF2-40B4-BE49-F238E27FC236}">
                <a16:creationId xmlns:a16="http://schemas.microsoft.com/office/drawing/2014/main" id="{1047615D-489A-9692-812C-459245A7F31C}"/>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82364" y="6042064"/>
            <a:ext cx="1193800" cy="635950"/>
          </a:xfrm>
          <a:prstGeom prst="rect">
            <a:avLst/>
          </a:prstGeom>
        </p:spPr>
      </p:pic>
      <p:cxnSp>
        <p:nvCxnSpPr>
          <p:cNvPr id="7" name="Straight Connector 6">
            <a:extLst>
              <a:ext uri="{FF2B5EF4-FFF2-40B4-BE49-F238E27FC236}">
                <a16:creationId xmlns:a16="http://schemas.microsoft.com/office/drawing/2014/main" id="{38529661-8AC7-2D6E-5747-3F895E151846}"/>
              </a:ext>
            </a:extLst>
          </p:cNvPr>
          <p:cNvCxnSpPr>
            <a:cxnSpLocks/>
          </p:cNvCxnSpPr>
          <p:nvPr userDrawn="1"/>
        </p:nvCxnSpPr>
        <p:spPr>
          <a:xfrm>
            <a:off x="2259724" y="6605271"/>
            <a:ext cx="7811376" cy="0"/>
          </a:xfrm>
          <a:prstGeom prst="line">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2C816230-6EAE-8FA2-A595-3044DEA48E80}"/>
              </a:ext>
            </a:extLst>
          </p:cNvPr>
          <p:cNvPicPr>
            <a:picLocks noChangeAspect="1"/>
          </p:cNvPicPr>
          <p:nvPr userDrawn="1"/>
        </p:nvPicPr>
        <p:blipFill>
          <a:blip r:embed="rId15">
            <a:extLst>
              <a:ext uri="{28A0092B-C50C-407E-A947-70E740481C1C}">
                <a14:useLocalDpi xmlns:a14="http://schemas.microsoft.com/office/drawing/2010/main" val="0"/>
              </a:ext>
            </a:extLst>
          </a:blip>
          <a:srcRect t="9205" b="9205"/>
          <a:stretch/>
        </p:blipFill>
        <p:spPr>
          <a:xfrm>
            <a:off x="10071100" y="6333935"/>
            <a:ext cx="1346501" cy="288267"/>
          </a:xfrm>
          <a:prstGeom prst="rect">
            <a:avLst/>
          </a:prstGeom>
        </p:spPr>
      </p:pic>
      <p:pic>
        <p:nvPicPr>
          <p:cNvPr id="24" name="Graphic 23">
            <a:extLst>
              <a:ext uri="{FF2B5EF4-FFF2-40B4-BE49-F238E27FC236}">
                <a16:creationId xmlns:a16="http://schemas.microsoft.com/office/drawing/2014/main" id="{729BB3FF-1D59-421A-31C3-247E943D60C8}"/>
              </a:ext>
            </a:extLst>
          </p:cNvPr>
          <p:cNvPicPr>
            <a:picLocks noChangeAspect="1"/>
          </p:cNvPicPr>
          <p:nvPr userDrawn="1"/>
        </p:nvPicPr>
        <p:blipFill>
          <a:blip r:embed="rId16">
            <a:extLst>
              <a:ext uri="{96DAC541-7B7A-43D3-8B79-37D633B846F1}">
                <asvg:svgBlip xmlns:asvg="http://schemas.microsoft.com/office/drawing/2016/SVG/main" r:embed="rId17"/>
              </a:ext>
            </a:extLst>
          </a:blip>
          <a:srcRect t="25051"/>
          <a:stretch>
            <a:fillRect/>
          </a:stretch>
        </p:blipFill>
        <p:spPr>
          <a:xfrm>
            <a:off x="11506200" y="0"/>
            <a:ext cx="685800" cy="592530"/>
          </a:xfrm>
          <a:prstGeom prst="rect">
            <a:avLst/>
          </a:prstGeom>
        </p:spPr>
      </p:pic>
      <p:sp>
        <p:nvSpPr>
          <p:cNvPr id="6" name="Slide Number Placeholder 5">
            <a:extLst>
              <a:ext uri="{FF2B5EF4-FFF2-40B4-BE49-F238E27FC236}">
                <a16:creationId xmlns:a16="http://schemas.microsoft.com/office/drawing/2014/main" id="{C9D93A06-9C26-C1CD-121A-F05C6EF3E3C2}"/>
              </a:ext>
            </a:extLst>
          </p:cNvPr>
          <p:cNvSpPr>
            <a:spLocks noGrp="1"/>
          </p:cNvSpPr>
          <p:nvPr>
            <p:ph type="sldNum" sz="quarter" idx="4"/>
          </p:nvPr>
        </p:nvSpPr>
        <p:spPr>
          <a:xfrm>
            <a:off x="11506200" y="85407"/>
            <a:ext cx="685800" cy="365125"/>
          </a:xfrm>
          <a:prstGeom prst="rect">
            <a:avLst/>
          </a:prstGeom>
        </p:spPr>
        <p:txBody>
          <a:bodyPr vert="horz" lIns="91440" tIns="45720" rIns="91440" bIns="45720" rtlCol="0" anchor="ctr"/>
          <a:lstStyle>
            <a:lvl1pPr algn="ctr">
              <a:defRPr sz="1800">
                <a:solidFill>
                  <a:schemeClr val="bg1"/>
                </a:solidFill>
              </a:defRPr>
            </a:lvl1pPr>
          </a:lstStyle>
          <a:p>
            <a:fld id="{8415421A-8635-4166-92D2-5F6D44CB9F91}" type="slidenum">
              <a:rPr lang="fr-FR" smtClean="0"/>
              <a:pPr/>
              <a:t>‹#›</a:t>
            </a:fld>
            <a:endParaRPr lang="fr-FR" dirty="0"/>
          </a:p>
        </p:txBody>
      </p:sp>
      <p:grpSp>
        <p:nvGrpSpPr>
          <p:cNvPr id="18" name="Group 17">
            <a:extLst>
              <a:ext uri="{FF2B5EF4-FFF2-40B4-BE49-F238E27FC236}">
                <a16:creationId xmlns:a16="http://schemas.microsoft.com/office/drawing/2014/main" id="{275704D7-7566-39C1-D24F-EB9CFFD16300}"/>
              </a:ext>
            </a:extLst>
          </p:cNvPr>
          <p:cNvGrpSpPr/>
          <p:nvPr userDrawn="1"/>
        </p:nvGrpSpPr>
        <p:grpSpPr>
          <a:xfrm>
            <a:off x="10686819" y="-197107"/>
            <a:ext cx="1383377" cy="1392554"/>
            <a:chOff x="10913220" y="14163"/>
            <a:chExt cx="1029975" cy="1036808"/>
          </a:xfrm>
        </p:grpSpPr>
        <p:sp>
          <p:nvSpPr>
            <p:cNvPr id="10" name="Freeform: Shape 9">
              <a:extLst>
                <a:ext uri="{FF2B5EF4-FFF2-40B4-BE49-F238E27FC236}">
                  <a16:creationId xmlns:a16="http://schemas.microsoft.com/office/drawing/2014/main" id="{CE23C45B-EE83-A01C-406B-22541CE7E631}"/>
                </a:ext>
              </a:extLst>
            </p:cNvPr>
            <p:cNvSpPr/>
            <p:nvPr>
              <p:custDataLst>
                <p:tags r:id="rId8"/>
              </p:custDataLst>
            </p:nvPr>
          </p:nvSpPr>
          <p:spPr>
            <a:xfrm>
              <a:off x="11386233" y="775821"/>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036A6E"/>
            </a:solidFill>
            <a:ln w="8432" cap="flat">
              <a:noFill/>
              <a:prstDash val="solid"/>
              <a:miter/>
            </a:ln>
          </p:spPr>
          <p:txBody>
            <a:bodyPr rtlCol="0" anchor="ctr"/>
            <a:lstStyle/>
            <a:p>
              <a:endParaRPr lang="fr-FR"/>
            </a:p>
          </p:txBody>
        </p:sp>
        <p:sp>
          <p:nvSpPr>
            <p:cNvPr id="11" name="Freeform: Shape 10">
              <a:extLst>
                <a:ext uri="{FF2B5EF4-FFF2-40B4-BE49-F238E27FC236}">
                  <a16:creationId xmlns:a16="http://schemas.microsoft.com/office/drawing/2014/main" id="{5BE3502A-B37B-BC69-B612-99AC25D8BDEC}"/>
                </a:ext>
              </a:extLst>
            </p:cNvPr>
            <p:cNvSpPr/>
            <p:nvPr>
              <p:custDataLst>
                <p:tags r:id="rId9"/>
              </p:custDataLst>
            </p:nvPr>
          </p:nvSpPr>
          <p:spPr>
            <a:xfrm>
              <a:off x="11673709" y="821605"/>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036A6E"/>
            </a:solidFill>
            <a:ln w="8432" cap="flat">
              <a:noFill/>
              <a:prstDash val="solid"/>
              <a:miter/>
            </a:ln>
          </p:spPr>
          <p:txBody>
            <a:bodyPr rtlCol="0" anchor="ctr"/>
            <a:lstStyle/>
            <a:p>
              <a:endParaRPr lang="fr-FR"/>
            </a:p>
          </p:txBody>
        </p:sp>
        <p:sp>
          <p:nvSpPr>
            <p:cNvPr id="12" name="Freeform: Shape 11">
              <a:extLst>
                <a:ext uri="{FF2B5EF4-FFF2-40B4-BE49-F238E27FC236}">
                  <a16:creationId xmlns:a16="http://schemas.microsoft.com/office/drawing/2014/main" id="{364DDC48-26C8-5FA1-EB66-E130DADE73B2}"/>
                </a:ext>
              </a:extLst>
            </p:cNvPr>
            <p:cNvSpPr/>
            <p:nvPr>
              <p:custDataLst>
                <p:tags r:id="rId10"/>
              </p:custDataLst>
            </p:nvPr>
          </p:nvSpPr>
          <p:spPr>
            <a:xfrm>
              <a:off x="11083711" y="14163"/>
              <a:ext cx="279834" cy="261952"/>
            </a:xfrm>
            <a:custGeom>
              <a:avLst/>
              <a:gdLst>
                <a:gd name="connsiteX0" fmla="*/ 0 w 279834"/>
                <a:gd name="connsiteY0" fmla="*/ 0 h 261952"/>
                <a:gd name="connsiteX1" fmla="*/ 279024 w 279834"/>
                <a:gd name="connsiteY1" fmla="*/ 259667 h 261952"/>
                <a:gd name="connsiteX2" fmla="*/ 0 w 279834"/>
                <a:gd name="connsiteY2" fmla="*/ 0 h 261952"/>
              </a:gdLst>
              <a:ahLst/>
              <a:cxnLst>
                <a:cxn ang="0">
                  <a:pos x="connsiteX0" y="connsiteY0"/>
                </a:cxn>
                <a:cxn ang="0">
                  <a:pos x="connsiteX1" y="connsiteY1"/>
                </a:cxn>
                <a:cxn ang="0">
                  <a:pos x="connsiteX2" y="connsiteY2"/>
                </a:cxn>
              </a:cxnLst>
              <a:rect l="l" t="t" r="r" b="b"/>
              <a:pathLst>
                <a:path w="279834" h="261952">
                  <a:moveTo>
                    <a:pt x="0" y="0"/>
                  </a:moveTo>
                  <a:cubicBezTo>
                    <a:pt x="82160" y="304213"/>
                    <a:pt x="279024" y="259667"/>
                    <a:pt x="279024" y="259667"/>
                  </a:cubicBezTo>
                  <a:cubicBezTo>
                    <a:pt x="279024" y="259667"/>
                    <a:pt x="309284" y="60014"/>
                    <a:pt x="0" y="0"/>
                  </a:cubicBezTo>
                  <a:close/>
                </a:path>
              </a:pathLst>
            </a:custGeom>
            <a:solidFill>
              <a:srgbClr val="036A6E"/>
            </a:solidFill>
            <a:ln w="8432" cap="flat">
              <a:noFill/>
              <a:prstDash val="solid"/>
              <a:miter/>
            </a:ln>
          </p:spPr>
          <p:txBody>
            <a:bodyPr rtlCol="0" anchor="ctr"/>
            <a:lstStyle/>
            <a:p>
              <a:endParaRPr lang="fr-FR"/>
            </a:p>
          </p:txBody>
        </p:sp>
        <p:sp>
          <p:nvSpPr>
            <p:cNvPr id="13" name="Freeform: Shape 12">
              <a:extLst>
                <a:ext uri="{FF2B5EF4-FFF2-40B4-BE49-F238E27FC236}">
                  <a16:creationId xmlns:a16="http://schemas.microsoft.com/office/drawing/2014/main" id="{C94B416F-C747-85D9-9A2B-428633EE0B07}"/>
                </a:ext>
              </a:extLst>
            </p:cNvPr>
            <p:cNvSpPr/>
            <p:nvPr>
              <p:custDataLst>
                <p:tags r:id="rId11"/>
              </p:custDataLst>
            </p:nvPr>
          </p:nvSpPr>
          <p:spPr>
            <a:xfrm>
              <a:off x="10913220" y="203284"/>
              <a:ext cx="250707" cy="164202"/>
            </a:xfrm>
            <a:custGeom>
              <a:avLst/>
              <a:gdLst>
                <a:gd name="connsiteX0" fmla="*/ 0 w 250707"/>
                <a:gd name="connsiteY0" fmla="*/ 12138 h 164202"/>
                <a:gd name="connsiteX1" fmla="*/ 250707 w 250707"/>
                <a:gd name="connsiteY1" fmla="*/ 138083 h 164202"/>
                <a:gd name="connsiteX2" fmla="*/ 0 w 250707"/>
                <a:gd name="connsiteY2" fmla="*/ 12138 h 164202"/>
              </a:gdLst>
              <a:ahLst/>
              <a:cxnLst>
                <a:cxn ang="0">
                  <a:pos x="connsiteX0" y="connsiteY0"/>
                </a:cxn>
                <a:cxn ang="0">
                  <a:pos x="connsiteX1" y="connsiteY1"/>
                </a:cxn>
                <a:cxn ang="0">
                  <a:pos x="connsiteX2" y="connsiteY2"/>
                </a:cxn>
              </a:cxnLst>
              <a:rect l="l" t="t" r="r" b="b"/>
              <a:pathLst>
                <a:path w="250707" h="164202">
                  <a:moveTo>
                    <a:pt x="0" y="12138"/>
                  </a:moveTo>
                  <a:cubicBezTo>
                    <a:pt x="101010" y="249490"/>
                    <a:pt x="250707" y="138083"/>
                    <a:pt x="250707" y="138083"/>
                  </a:cubicBezTo>
                  <a:cubicBezTo>
                    <a:pt x="250707" y="138083"/>
                    <a:pt x="250707" y="-48552"/>
                    <a:pt x="0" y="12138"/>
                  </a:cubicBezTo>
                  <a:close/>
                </a:path>
              </a:pathLst>
            </a:custGeom>
            <a:solidFill>
              <a:srgbClr val="036A6E"/>
            </a:solidFill>
            <a:ln w="8432" cap="flat">
              <a:noFill/>
              <a:prstDash val="solid"/>
              <a:miter/>
            </a:ln>
          </p:spPr>
          <p:txBody>
            <a:bodyPr rtlCol="0" anchor="ctr"/>
            <a:lstStyle/>
            <a:p>
              <a:endParaRPr lang="fr-FR"/>
            </a:p>
          </p:txBody>
        </p:sp>
        <p:sp>
          <p:nvSpPr>
            <p:cNvPr id="14" name="Freeform: Shape 13">
              <a:extLst>
                <a:ext uri="{FF2B5EF4-FFF2-40B4-BE49-F238E27FC236}">
                  <a16:creationId xmlns:a16="http://schemas.microsoft.com/office/drawing/2014/main" id="{A55A747A-722B-576A-144F-712286943AE6}"/>
                </a:ext>
              </a:extLst>
            </p:cNvPr>
            <p:cNvSpPr/>
            <p:nvPr>
              <p:custDataLst>
                <p:tags r:id="rId12"/>
              </p:custDataLst>
            </p:nvPr>
          </p:nvSpPr>
          <p:spPr>
            <a:xfrm>
              <a:off x="10950158" y="465607"/>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515D5F"/>
            </a:solidFill>
            <a:ln w="8432" cap="flat">
              <a:noFill/>
              <a:prstDash val="solid"/>
              <a:miter/>
            </a:ln>
          </p:spPr>
          <p:txBody>
            <a:bodyPr rtlCol="0" anchor="ctr"/>
            <a:lstStyle/>
            <a:p>
              <a:endParaRPr lang="fr-FR"/>
            </a:p>
          </p:txBody>
        </p:sp>
        <p:sp>
          <p:nvSpPr>
            <p:cNvPr id="15" name="Freeform: Shape 14">
              <a:extLst>
                <a:ext uri="{FF2B5EF4-FFF2-40B4-BE49-F238E27FC236}">
                  <a16:creationId xmlns:a16="http://schemas.microsoft.com/office/drawing/2014/main" id="{19B0A693-C090-E574-7F00-25CEA1765C86}"/>
                </a:ext>
              </a:extLst>
            </p:cNvPr>
            <p:cNvSpPr/>
            <p:nvPr>
              <p:custDataLst>
                <p:tags r:id="rId13"/>
              </p:custDataLst>
            </p:nvPr>
          </p:nvSpPr>
          <p:spPr>
            <a:xfrm>
              <a:off x="11237634" y="511307"/>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515D5F"/>
            </a:solidFill>
            <a:ln w="8432" cap="flat">
              <a:noFill/>
              <a:prstDash val="solid"/>
              <a:miter/>
            </a:ln>
          </p:spPr>
          <p:txBody>
            <a:bodyPr rtlCol="0" anchor="ctr"/>
            <a:lstStyle/>
            <a:p>
              <a:endParaRPr lang="fr-FR"/>
            </a:p>
          </p:txBody>
        </p:sp>
      </p:grpSp>
    </p:spTree>
    <p:extLst>
      <p:ext uri="{BB962C8B-B14F-4D97-AF65-F5344CB8AC3E}">
        <p14:creationId xmlns:p14="http://schemas.microsoft.com/office/powerpoint/2010/main" val="3790004679"/>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2" r:id="rId4"/>
    <p:sldLayoutId id="2147483661" r:id="rId5"/>
    <p:sldLayoutId id="2147483652" r:id="rId6"/>
  </p:sldLayoutIdLst>
  <p:hf hd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3.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9.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1.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3.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4.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a:xfrm>
            <a:off x="756745" y="1122363"/>
            <a:ext cx="5339255" cy="2387600"/>
          </a:xfrm>
        </p:spPr>
        <p:txBody>
          <a:bodyPr/>
          <a:lstStyle/>
          <a:p>
            <a:r>
              <a:rPr lang="fr-FR" dirty="0"/>
              <a:t>Nomenclature Dintilhac des victimes par ricochet</a:t>
            </a:r>
          </a:p>
        </p:txBody>
      </p:sp>
      <p:sp>
        <p:nvSpPr>
          <p:cNvPr id="4" name="Subtitle 3">
            <a:extLst>
              <a:ext uri="{FF2B5EF4-FFF2-40B4-BE49-F238E27FC236}">
                <a16:creationId xmlns:a16="http://schemas.microsoft.com/office/drawing/2014/main" id="{AAF246C1-6595-EAC0-292B-057A0BC9697A}"/>
              </a:ext>
            </a:extLst>
          </p:cNvPr>
          <p:cNvSpPr>
            <a:spLocks noGrp="1"/>
          </p:cNvSpPr>
          <p:nvPr>
            <p:ph type="subTitle" idx="1"/>
          </p:nvPr>
        </p:nvSpPr>
        <p:spPr/>
        <p:txBody>
          <a:bodyPr/>
          <a:lstStyle/>
          <a:p>
            <a:endParaRPr lang="fr-FR"/>
          </a:p>
        </p:txBody>
      </p:sp>
    </p:spTree>
    <p:extLst>
      <p:ext uri="{BB962C8B-B14F-4D97-AF65-F5344CB8AC3E}">
        <p14:creationId xmlns:p14="http://schemas.microsoft.com/office/powerpoint/2010/main" val="293540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ADE123B4-1714-B1C7-6CFD-03E6B4DA73F4}"/>
              </a:ext>
            </a:extLst>
          </p:cNvPr>
          <p:cNvSpPr>
            <a:spLocks noGrp="1"/>
          </p:cNvSpPr>
          <p:nvPr>
            <p:ph type="title"/>
          </p:nvPr>
        </p:nvSpPr>
        <p:spPr>
          <a:xfrm>
            <a:off x="838200" y="365126"/>
            <a:ext cx="9321800" cy="919221"/>
          </a:xfrm>
        </p:spPr>
        <p:txBody>
          <a:bodyPr/>
          <a:lstStyle/>
          <a:p>
            <a:r>
              <a:rPr lang="fr-FR" dirty="0"/>
              <a:t>Introduction</a:t>
            </a:r>
          </a:p>
        </p:txBody>
      </p:sp>
      <p:sp>
        <p:nvSpPr>
          <p:cNvPr id="4" name="Espace réservé du contenu 3">
            <a:extLst>
              <a:ext uri="{FF2B5EF4-FFF2-40B4-BE49-F238E27FC236}">
                <a16:creationId xmlns:a16="http://schemas.microsoft.com/office/drawing/2014/main" id="{6C4A7F91-CD68-6BAF-6A62-7E9DAD8705CA}"/>
              </a:ext>
            </a:extLst>
          </p:cNvPr>
          <p:cNvSpPr>
            <a:spLocks noGrp="1"/>
          </p:cNvSpPr>
          <p:nvPr>
            <p:ph idx="1"/>
          </p:nvPr>
        </p:nvSpPr>
        <p:spPr>
          <a:xfrm>
            <a:off x="838200" y="1441623"/>
            <a:ext cx="10668000" cy="4362278"/>
          </a:xfrm>
        </p:spPr>
        <p:txBody>
          <a:bodyPr/>
          <a:lstStyle/>
          <a:p>
            <a:r>
              <a:rPr lang="fr-FR" dirty="0">
                <a:solidFill>
                  <a:schemeClr val="accent1"/>
                </a:solidFill>
              </a:rPr>
              <a:t>MM</a:t>
            </a:r>
          </a:p>
          <a:p>
            <a:r>
              <a:rPr lang="fr-FR" dirty="0"/>
              <a:t>C’est dans ce contexte qu’une refonte de la nomenclature a été entreprise par un groupe de travail compose d’avocats spécialistes er d’une universitaire. L’objectif est de proposer un outil structuré et cohérent, capable de rendre compte de la diversité et de la complexité des préjudices subis par les victimes par ricochet.</a:t>
            </a:r>
          </a:p>
          <a:p>
            <a:r>
              <a:rPr lang="fr-FR" dirty="0"/>
              <a:t>Ainsi, il est proposé une nomenclature des préjudices des victimes par ricochet qui, reprenant les termes de l’arrêt de la Cour de cassation du 23 mars 2017 susmentionné, distingue </a:t>
            </a:r>
            <a:r>
              <a:rPr lang="fr-FR" b="1" dirty="0"/>
              <a:t>les préjudices relationnels </a:t>
            </a:r>
            <a:r>
              <a:rPr lang="fr-FR" dirty="0"/>
              <a:t>des </a:t>
            </a:r>
            <a:r>
              <a:rPr lang="fr-FR" b="1" dirty="0"/>
              <a:t>préjudices corporels </a:t>
            </a:r>
            <a:r>
              <a:rPr lang="fr-FR" dirty="0"/>
              <a:t>de la victime par ricochet.</a:t>
            </a:r>
          </a:p>
          <a:p>
            <a:r>
              <a:rPr lang="fr-FR" dirty="0"/>
              <a:t>Le travail du groupe a porté principalement sur l’élaboration de la nomenclature des </a:t>
            </a:r>
            <a:r>
              <a:rPr lang="fr-FR" b="1" dirty="0"/>
              <a:t>préjudices relationnels</a:t>
            </a:r>
            <a:r>
              <a:rPr lang="fr-FR" dirty="0"/>
              <a:t>.</a:t>
            </a:r>
          </a:p>
          <a:p>
            <a:r>
              <a:rPr lang="fr-FR" dirty="0"/>
              <a:t>Pour ce qui est des préjudices corporels de la victime par ricochet, il est renvoyé purement et simplement à la nomenclature des postes de préjudice de la victime directe.</a:t>
            </a:r>
          </a:p>
          <a:p>
            <a:r>
              <a:rPr lang="fr-FR" dirty="0"/>
              <a:t>Enfin, la nomenclature ne prend pas en compte </a:t>
            </a:r>
            <a:r>
              <a:rPr lang="fr-FR" b="1" dirty="0"/>
              <a:t>le préjudice successoral </a:t>
            </a:r>
            <a:r>
              <a:rPr lang="fr-FR" dirty="0"/>
              <a:t>qui n’est pas juridiquement un préjudice par ricochet. Néanmoins, il est important de rappeler que dans l’hypothèse d’une période de survie, les héritiers de la victime directe peuvent solliciter indemnisation des préjudices subis par celle-ci avant son décès (PAMI, SE, PET, DFT, DSA, FD (y inclus FLA et FVA tempo) ATP tempo et PGPA).</a:t>
            </a:r>
          </a:p>
          <a:p>
            <a:endParaRPr lang="fr-FR" dirty="0"/>
          </a:p>
        </p:txBody>
      </p:sp>
      <p:sp>
        <p:nvSpPr>
          <p:cNvPr id="5" name="Espace réservé du pied de page 4">
            <a:extLst>
              <a:ext uri="{FF2B5EF4-FFF2-40B4-BE49-F238E27FC236}">
                <a16:creationId xmlns:a16="http://schemas.microsoft.com/office/drawing/2014/main" id="{BD907315-02C0-98EA-265D-222CEC34CAA4}"/>
              </a:ext>
            </a:extLst>
          </p:cNvPr>
          <p:cNvSpPr>
            <a:spLocks noGrp="1"/>
          </p:cNvSpPr>
          <p:nvPr>
            <p:ph type="ftr" sz="quarter" idx="11"/>
          </p:nvPr>
        </p:nvSpPr>
        <p:spPr>
          <a:xfrm>
            <a:off x="3774017" y="6247648"/>
            <a:ext cx="4643966" cy="365125"/>
          </a:xfrm>
        </p:spPr>
        <p:txBody>
          <a:bodyPr/>
          <a:lstStyle/>
          <a:p>
            <a:endParaRPr lang="fr-FR"/>
          </a:p>
        </p:txBody>
      </p:sp>
      <p:sp>
        <p:nvSpPr>
          <p:cNvPr id="2" name="Espace réservé du numéro de diapositive 1">
            <a:extLst>
              <a:ext uri="{FF2B5EF4-FFF2-40B4-BE49-F238E27FC236}">
                <a16:creationId xmlns:a16="http://schemas.microsoft.com/office/drawing/2014/main" id="{11F2F649-AD06-C979-19B4-BE379AB670DB}"/>
              </a:ext>
            </a:extLst>
          </p:cNvPr>
          <p:cNvSpPr>
            <a:spLocks noGrp="1"/>
          </p:cNvSpPr>
          <p:nvPr>
            <p:ph type="sldNum" sz="quarter" idx="12"/>
          </p:nvPr>
        </p:nvSpPr>
        <p:spPr>
          <a:xfrm>
            <a:off x="11506200" y="85407"/>
            <a:ext cx="685800" cy="365125"/>
          </a:xfrm>
        </p:spPr>
        <p:txBody>
          <a:bodyPr/>
          <a:lstStyle/>
          <a:p>
            <a:fld id="{8415421A-8635-4166-92D2-5F6D44CB9F91}" type="slidenum">
              <a:rPr lang="fr-FR" smtClean="0"/>
              <a:pPr/>
              <a:t>10</a:t>
            </a:fld>
            <a:endParaRPr lang="fr-FR"/>
          </a:p>
        </p:txBody>
      </p:sp>
    </p:spTree>
    <p:extLst>
      <p:ext uri="{BB962C8B-B14F-4D97-AF65-F5344CB8AC3E}">
        <p14:creationId xmlns:p14="http://schemas.microsoft.com/office/powerpoint/2010/main" val="20909441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85A5DE-8610-D27F-6C97-2672D543D9D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3029D3D-47BF-D25D-8070-9BE8A2666B5E}"/>
              </a:ext>
            </a:extLst>
          </p:cNvPr>
          <p:cNvSpPr>
            <a:spLocks noGrp="1"/>
          </p:cNvSpPr>
          <p:nvPr>
            <p:ph type="ctrTitle"/>
          </p:nvPr>
        </p:nvSpPr>
        <p:spPr>
          <a:xfrm>
            <a:off x="232962" y="1151844"/>
            <a:ext cx="6833663" cy="2387600"/>
          </a:xfrm>
        </p:spPr>
        <p:txBody>
          <a:bodyPr/>
          <a:lstStyle/>
          <a:p>
            <a:r>
              <a:rPr lang="fr-FR" dirty="0">
                <a:latin typeface="Calibri" panose="020F0502020204030204" pitchFamily="34" charset="0"/>
                <a:cs typeface="Calibri" panose="020F0502020204030204" pitchFamily="34" charset="0"/>
              </a:rPr>
              <a:t>PREJUDICES RELATIONNELS DE LA VICTIME PAR RICOCHET </a:t>
            </a:r>
            <a:r>
              <a:rPr lang="fr-FR" sz="2000" dirty="0">
                <a:solidFill>
                  <a:schemeClr val="accent1">
                    <a:lumMod val="75000"/>
                  </a:schemeClr>
                </a:solidFill>
                <a:latin typeface="Calibri" panose="020F0502020204030204" pitchFamily="34" charset="0"/>
                <a:cs typeface="Calibri" panose="020F0502020204030204" pitchFamily="34" charset="0"/>
              </a:rPr>
              <a:t>LCR</a:t>
            </a:r>
          </a:p>
        </p:txBody>
      </p:sp>
    </p:spTree>
    <p:extLst>
      <p:ext uri="{BB962C8B-B14F-4D97-AF65-F5344CB8AC3E}">
        <p14:creationId xmlns:p14="http://schemas.microsoft.com/office/powerpoint/2010/main" val="4053323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Espace réservé du contenu 6">
            <a:extLst>
              <a:ext uri="{FF2B5EF4-FFF2-40B4-BE49-F238E27FC236}">
                <a16:creationId xmlns:a16="http://schemas.microsoft.com/office/drawing/2014/main" id="{F654C7AB-8C15-1699-6111-71663F8FA655}"/>
              </a:ext>
            </a:extLst>
          </p:cNvPr>
          <p:cNvGraphicFramePr>
            <a:graphicFrameLocks noGrp="1"/>
          </p:cNvGraphicFramePr>
          <p:nvPr>
            <p:ph idx="1"/>
            <p:extLst>
              <p:ext uri="{D42A27DB-BD31-4B8C-83A1-F6EECF244321}">
                <p14:modId xmlns:p14="http://schemas.microsoft.com/office/powerpoint/2010/main" val="1883654049"/>
              </p:ext>
            </p:extLst>
          </p:nvPr>
        </p:nvGraphicFramePr>
        <p:xfrm>
          <a:off x="953813" y="420369"/>
          <a:ext cx="9323662" cy="5491850"/>
        </p:xfrm>
        <a:graphic>
          <a:graphicData uri="http://schemas.openxmlformats.org/drawingml/2006/table">
            <a:tbl>
              <a:tblPr/>
              <a:tblGrid>
                <a:gridCol w="3808687">
                  <a:extLst>
                    <a:ext uri="{9D8B030D-6E8A-4147-A177-3AD203B41FA5}">
                      <a16:colId xmlns:a16="http://schemas.microsoft.com/office/drawing/2014/main" val="1450876757"/>
                    </a:ext>
                  </a:extLst>
                </a:gridCol>
                <a:gridCol w="5514975">
                  <a:extLst>
                    <a:ext uri="{9D8B030D-6E8A-4147-A177-3AD203B41FA5}">
                      <a16:colId xmlns:a16="http://schemas.microsoft.com/office/drawing/2014/main" val="3432136757"/>
                    </a:ext>
                  </a:extLst>
                </a:gridCol>
              </a:tblGrid>
              <a:tr h="338379">
                <a:tc>
                  <a:txBody>
                    <a:bodyPr/>
                    <a:lstStyle/>
                    <a:p>
                      <a:pPr>
                        <a:buNone/>
                      </a:pPr>
                      <a:r>
                        <a:rPr lang="fr-FR" sz="1200" b="1" dirty="0">
                          <a:solidFill>
                            <a:schemeClr val="bg1"/>
                          </a:solidFill>
                          <a:effectLst/>
                          <a:latin typeface="+mn-lt"/>
                        </a:rPr>
                        <a:t>Nomenclature Dintilhac</a:t>
                      </a:r>
                      <a:endParaRPr lang="fr-FR" sz="1200" dirty="0">
                        <a:solidFill>
                          <a:schemeClr val="bg1"/>
                        </a:solidFill>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635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accent4"/>
                    </a:solidFill>
                  </a:tcPr>
                </a:tc>
                <a:tc>
                  <a:txBody>
                    <a:bodyPr/>
                    <a:lstStyle/>
                    <a:p>
                      <a:pPr>
                        <a:buNone/>
                      </a:pPr>
                      <a:r>
                        <a:rPr lang="fr-FR" sz="1200" b="1" dirty="0" err="1">
                          <a:solidFill>
                            <a:schemeClr val="bg1"/>
                          </a:solidFill>
                          <a:effectLst/>
                          <a:latin typeface="+mn-lt"/>
                        </a:rPr>
                        <a:t>Propodition</a:t>
                      </a:r>
                      <a:r>
                        <a:rPr lang="fr-FR" sz="1200" b="1" dirty="0">
                          <a:solidFill>
                            <a:schemeClr val="bg1"/>
                          </a:solidFill>
                          <a:effectLst/>
                          <a:latin typeface="+mn-lt"/>
                        </a:rPr>
                        <a:t> d’une nouvelle nomenclature (groupe de travail 2025)</a:t>
                      </a:r>
                      <a:endParaRPr lang="fr-FR" sz="1200" dirty="0">
                        <a:solidFill>
                          <a:schemeClr val="bg1"/>
                        </a:solidFill>
                        <a:effectLst/>
                        <a:latin typeface="+mn-lt"/>
                      </a:endParaRPr>
                    </a:p>
                  </a:txBody>
                  <a:tcPr marL="13104" marR="13104" marT="13104" marB="13104" anchor="ctr">
                    <a:lnL w="635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accent4"/>
                    </a:solidFill>
                  </a:tcPr>
                </a:tc>
                <a:extLst>
                  <a:ext uri="{0D108BD9-81ED-4DB2-BD59-A6C34878D82A}">
                    <a16:rowId xmlns:a16="http://schemas.microsoft.com/office/drawing/2014/main" val="4048540740"/>
                  </a:ext>
                </a:extLst>
              </a:tr>
              <a:tr h="253161">
                <a:tc>
                  <a:txBody>
                    <a:bodyPr/>
                    <a:lstStyle/>
                    <a:p>
                      <a:pPr>
                        <a:buNone/>
                      </a:pPr>
                      <a:r>
                        <a:rPr lang="fr-FR" sz="1200" b="1" dirty="0">
                          <a:solidFill>
                            <a:srgbClr val="000000"/>
                          </a:solidFill>
                          <a:effectLst/>
                          <a:latin typeface="+mn-lt"/>
                        </a:rPr>
                        <a:t>En cas de décès</a:t>
                      </a:r>
                      <a:endParaRPr lang="fr-FR" sz="1200" b="1"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buNone/>
                      </a:pPr>
                      <a:r>
                        <a:rPr lang="fr-FR" sz="1200" b="1" dirty="0">
                          <a:solidFill>
                            <a:srgbClr val="000000"/>
                          </a:solidFill>
                          <a:effectLst/>
                          <a:latin typeface="+mn-lt"/>
                        </a:rPr>
                        <a:t>Préjudices temporaires</a:t>
                      </a:r>
                      <a:endParaRPr lang="fr-FR" sz="1200" b="1"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413892524"/>
                  </a:ext>
                </a:extLst>
              </a:tr>
              <a:tr h="253161">
                <a:tc>
                  <a:txBody>
                    <a:bodyPr/>
                    <a:lstStyle/>
                    <a:p>
                      <a:pPr>
                        <a:buNone/>
                      </a:pPr>
                      <a:r>
                        <a:rPr lang="fr-FR" sz="1200" b="1" dirty="0">
                          <a:solidFill>
                            <a:schemeClr val="bg2"/>
                          </a:solidFill>
                          <a:effectLst/>
                          <a:latin typeface="+mn-lt"/>
                        </a:rPr>
                        <a:t>PREJUDICES PATRIMONIAUX</a:t>
                      </a: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buNone/>
                      </a:pPr>
                      <a:r>
                        <a:rPr lang="fr-FR" sz="1200" b="1" dirty="0">
                          <a:solidFill>
                            <a:schemeClr val="accent1"/>
                          </a:solidFill>
                          <a:effectLst/>
                          <a:latin typeface="+mn-lt"/>
                        </a:rPr>
                        <a:t>PREJUDICES EXTRAPATRIMONIAUX</a:t>
                      </a: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636955953"/>
                  </a:ext>
                </a:extLst>
              </a:tr>
              <a:tr h="253161">
                <a:tc>
                  <a:txBody>
                    <a:bodyPr/>
                    <a:lstStyle/>
                    <a:p>
                      <a:pPr>
                        <a:buNone/>
                      </a:pPr>
                      <a:r>
                        <a:rPr lang="fr-FR" sz="1200" b="0" dirty="0">
                          <a:solidFill>
                            <a:srgbClr val="000000"/>
                          </a:solidFill>
                          <a:effectLst/>
                          <a:latin typeface="+mn-lt"/>
                        </a:rPr>
                        <a:t>- Frais d'obsèques </a:t>
                      </a:r>
                      <a:endParaRPr lang="fr-FR" sz="1200" b="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buNone/>
                      </a:pPr>
                      <a:r>
                        <a:rPr lang="fr-FR" sz="1200" dirty="0">
                          <a:solidFill>
                            <a:srgbClr val="000000"/>
                          </a:solidFill>
                          <a:effectLst/>
                          <a:latin typeface="+mn-lt"/>
                        </a:rPr>
                        <a:t>- Préjudice d'attente et d'inquiétude (extra-patrimonial)</a:t>
                      </a:r>
                      <a:endParaRPr lang="fr-FR" sz="120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549786959"/>
                  </a:ext>
                </a:extLst>
              </a:tr>
              <a:tr h="253161">
                <a:tc>
                  <a:txBody>
                    <a:bodyPr/>
                    <a:lstStyle/>
                    <a:p>
                      <a:pPr>
                        <a:buNone/>
                      </a:pPr>
                      <a:r>
                        <a:rPr lang="fr-FR" sz="1200" b="0" dirty="0">
                          <a:solidFill>
                            <a:schemeClr val="tx1"/>
                          </a:solidFill>
                          <a:effectLst/>
                          <a:latin typeface="+mn-lt"/>
                        </a:rPr>
                        <a:t>- Pertes de revenus des proches </a:t>
                      </a: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buNone/>
                      </a:pPr>
                      <a:r>
                        <a:rPr lang="fr-FR" sz="1200" dirty="0">
                          <a:solidFill>
                            <a:schemeClr val="tx1"/>
                          </a:solidFill>
                          <a:effectLst/>
                          <a:latin typeface="+mn-lt"/>
                        </a:rPr>
                        <a:t>- Préjudice d'accompagnement (extra-patrimonial)</a:t>
                      </a: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884879230"/>
                  </a:ext>
                </a:extLst>
              </a:tr>
              <a:tr h="253161">
                <a:tc>
                  <a:txBody>
                    <a:bodyPr/>
                    <a:lstStyle/>
                    <a:p>
                      <a:pPr>
                        <a:buNone/>
                      </a:pPr>
                      <a:r>
                        <a:rPr lang="fr-FR" sz="1200" b="0" dirty="0">
                          <a:solidFill>
                            <a:srgbClr val="000000"/>
                          </a:solidFill>
                          <a:effectLst/>
                          <a:latin typeface="+mn-lt"/>
                        </a:rPr>
                        <a:t>- Frais divers des proches </a:t>
                      </a:r>
                      <a:endParaRPr lang="fr-FR" sz="1200" b="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buNone/>
                      </a:pPr>
                      <a:r>
                        <a:rPr lang="fr-FR" sz="1200" b="1" dirty="0">
                          <a:solidFill>
                            <a:schemeClr val="accent1"/>
                          </a:solidFill>
                          <a:effectLst/>
                          <a:latin typeface="+mn-lt"/>
                        </a:rPr>
                        <a:t>PREJUDICES PATRIMONIAUX</a:t>
                      </a: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223219205"/>
                  </a:ext>
                </a:extLst>
              </a:tr>
              <a:tr h="253161">
                <a:tc>
                  <a:txBody>
                    <a:bodyPr/>
                    <a:lstStyle/>
                    <a:p>
                      <a:pPr>
                        <a:buNone/>
                      </a:pPr>
                      <a:r>
                        <a:rPr lang="fr-FR" sz="1200" b="1" dirty="0">
                          <a:solidFill>
                            <a:schemeClr val="accent1"/>
                          </a:solidFill>
                          <a:effectLst/>
                          <a:latin typeface="+mn-lt"/>
                        </a:rPr>
                        <a:t>PREJUDICES EXTRAPATRIMONIAUX</a:t>
                      </a: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rgbClr val="000000"/>
                          </a:solidFill>
                          <a:effectLst/>
                          <a:latin typeface="+mn-lt"/>
                        </a:rPr>
                        <a:t>- Frais et besoins divers temporaires</a:t>
                      </a:r>
                      <a:endParaRPr lang="fr-FR" sz="120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247419141"/>
                  </a:ext>
                </a:extLst>
              </a:tr>
              <a:tr h="253161">
                <a:tc>
                  <a:txBody>
                    <a:bodyPr/>
                    <a:lstStyle/>
                    <a:p>
                      <a:pPr>
                        <a:buNone/>
                      </a:pPr>
                      <a:r>
                        <a:rPr lang="fr-FR" sz="1200" b="0" dirty="0">
                          <a:solidFill>
                            <a:srgbClr val="000000"/>
                          </a:solidFill>
                          <a:effectLst/>
                          <a:latin typeface="+mn-lt"/>
                        </a:rPr>
                        <a:t>- Préjudice d'accompagnement (extra-patrimonial)</a:t>
                      </a:r>
                      <a:endParaRPr lang="fr-FR" sz="1200" b="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buNone/>
                      </a:pPr>
                      <a:r>
                        <a:rPr lang="fr-FR" sz="1200" dirty="0">
                          <a:solidFill>
                            <a:srgbClr val="000000"/>
                          </a:solidFill>
                          <a:effectLst/>
                          <a:latin typeface="+mn-lt"/>
                        </a:rPr>
                        <a:t>- Préjudice professionnel temporaire</a:t>
                      </a:r>
                      <a:endParaRPr lang="fr-FR" sz="120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237304446"/>
                  </a:ext>
                </a:extLst>
              </a:tr>
              <a:tr h="343237">
                <a:tc>
                  <a:txBody>
                    <a:bodyPr/>
                    <a:lstStyle/>
                    <a:p>
                      <a:pPr>
                        <a:buNone/>
                      </a:pPr>
                      <a:r>
                        <a:rPr lang="fr-FR" sz="1200" b="0" dirty="0">
                          <a:solidFill>
                            <a:srgbClr val="000000"/>
                          </a:solidFill>
                          <a:effectLst/>
                          <a:latin typeface="+mn-lt"/>
                        </a:rPr>
                        <a:t>- Préjudice d'affection (extra-patrimonial)</a:t>
                      </a:r>
                      <a:endParaRPr lang="fr-FR" sz="1200" b="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buNone/>
                      </a:pPr>
                      <a:br>
                        <a:rPr lang="fr-FR" sz="1200" dirty="0">
                          <a:effectLst/>
                          <a:latin typeface="+mn-lt"/>
                        </a:rPr>
                      </a:br>
                      <a:endParaRPr lang="fr-FR" sz="120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724284081"/>
                  </a:ext>
                </a:extLst>
              </a:tr>
              <a:tr h="3432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dirty="0">
                          <a:solidFill>
                            <a:srgbClr val="000000"/>
                          </a:solidFill>
                          <a:effectLst/>
                          <a:latin typeface="+mn-lt"/>
                        </a:rPr>
                        <a:t>En cas de survie</a:t>
                      </a:r>
                      <a:endParaRPr lang="fr-FR" sz="120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buNone/>
                      </a:pPr>
                      <a:r>
                        <a:rPr lang="fr-FR" sz="1200" b="1" dirty="0">
                          <a:solidFill>
                            <a:srgbClr val="000000"/>
                          </a:solidFill>
                          <a:effectLst/>
                          <a:latin typeface="+mn-lt"/>
                        </a:rPr>
                        <a:t>Préjudices après consolidation ou décès de la victime directe</a:t>
                      </a:r>
                      <a:endParaRPr lang="fr-FR" sz="1200" b="1"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402063580"/>
                  </a:ext>
                </a:extLst>
              </a:tr>
              <a:tr h="253161">
                <a:tc>
                  <a:txBody>
                    <a:bodyPr/>
                    <a:lstStyle/>
                    <a:p>
                      <a:pPr>
                        <a:buNone/>
                      </a:pPr>
                      <a:r>
                        <a:rPr lang="fr-FR" sz="1200" b="1" dirty="0">
                          <a:solidFill>
                            <a:schemeClr val="accent1"/>
                          </a:solidFill>
                          <a:effectLst/>
                          <a:latin typeface="+mn-lt"/>
                        </a:rPr>
                        <a:t>PREJUDICES PATRIMONIAUX</a:t>
                      </a: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buNone/>
                      </a:pPr>
                      <a:r>
                        <a:rPr lang="fr-FR" sz="1200" b="1" dirty="0">
                          <a:solidFill>
                            <a:schemeClr val="accent1"/>
                          </a:solidFill>
                          <a:effectLst/>
                          <a:latin typeface="+mn-lt"/>
                        </a:rPr>
                        <a:t>PREJUDICES EXTRAPATRIMONIAUX</a:t>
                      </a: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767659344"/>
                  </a:ext>
                </a:extLst>
              </a:tr>
              <a:tr h="253161">
                <a:tc>
                  <a:txBody>
                    <a:bodyPr/>
                    <a:lstStyle/>
                    <a:p>
                      <a:pPr>
                        <a:buNone/>
                      </a:pPr>
                      <a:r>
                        <a:rPr lang="fr-FR" sz="1200" b="0" dirty="0">
                          <a:solidFill>
                            <a:srgbClr val="000000"/>
                          </a:solidFill>
                          <a:effectLst/>
                          <a:latin typeface="+mn-lt"/>
                        </a:rPr>
                        <a:t>- Perte de revenus des proches </a:t>
                      </a:r>
                      <a:endParaRPr lang="fr-FR" sz="1200" b="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buNone/>
                      </a:pPr>
                      <a:r>
                        <a:rPr lang="fr-FR" sz="1200" dirty="0">
                          <a:solidFill>
                            <a:srgbClr val="000000"/>
                          </a:solidFill>
                          <a:effectLst/>
                          <a:latin typeface="+mn-lt"/>
                        </a:rPr>
                        <a:t>- Préjudice d'affection </a:t>
                      </a:r>
                      <a:endParaRPr lang="fr-FR" sz="120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385498331"/>
                  </a:ext>
                </a:extLst>
              </a:tr>
              <a:tr h="253161">
                <a:tc>
                  <a:txBody>
                    <a:bodyPr/>
                    <a:lstStyle/>
                    <a:p>
                      <a:pPr>
                        <a:buNone/>
                      </a:pPr>
                      <a:r>
                        <a:rPr lang="fr-FR" sz="1200" b="0" dirty="0">
                          <a:solidFill>
                            <a:srgbClr val="000000"/>
                          </a:solidFill>
                          <a:effectLst/>
                          <a:latin typeface="+mn-lt"/>
                        </a:rPr>
                        <a:t>- Frais divers des proches </a:t>
                      </a:r>
                      <a:endParaRPr lang="fr-FR" sz="1200" b="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buNone/>
                      </a:pPr>
                      <a:r>
                        <a:rPr lang="fr-FR" sz="1200" dirty="0">
                          <a:solidFill>
                            <a:srgbClr val="000000"/>
                          </a:solidFill>
                          <a:effectLst/>
                          <a:latin typeface="+mn-lt"/>
                        </a:rPr>
                        <a:t>- Troubles dans les conditions d'existence</a:t>
                      </a:r>
                      <a:endParaRPr lang="fr-FR" sz="120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586479503"/>
                  </a:ext>
                </a:extLst>
              </a:tr>
              <a:tr h="253161">
                <a:tc>
                  <a:txBody>
                    <a:bodyPr/>
                    <a:lstStyle/>
                    <a:p>
                      <a:pPr>
                        <a:buNone/>
                      </a:pPr>
                      <a:endParaRPr lang="fr-FR" sz="1200" b="1"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buNone/>
                      </a:pPr>
                      <a:r>
                        <a:rPr lang="fr-FR" sz="1200" b="1" kern="1200" dirty="0">
                          <a:solidFill>
                            <a:schemeClr val="accent1"/>
                          </a:solidFill>
                          <a:effectLst/>
                          <a:latin typeface="+mn-lt"/>
                          <a:ea typeface="+mn-ea"/>
                          <a:cs typeface="+mn-cs"/>
                        </a:rPr>
                        <a:t>PREJUDICE PATRIMONIAUX</a:t>
                      </a: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041748708"/>
                  </a:ext>
                </a:extLst>
              </a:tr>
              <a:tr h="3432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dirty="0">
                          <a:solidFill>
                            <a:schemeClr val="accent1"/>
                          </a:solidFill>
                          <a:effectLst/>
                          <a:latin typeface="+mn-lt"/>
                        </a:rPr>
                        <a:t>PREJUDICES EXTRAPATRIMONIAUX</a:t>
                      </a:r>
                      <a:endParaRPr lang="fr-FR" sz="1200" b="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rgbClr val="000000"/>
                          </a:solidFill>
                          <a:effectLst/>
                          <a:latin typeface="+mn-lt"/>
                        </a:rPr>
                        <a:t>- Frais et besoins divers après décès ou consolidation </a:t>
                      </a:r>
                      <a:endParaRPr lang="fr-FR" sz="120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849257611"/>
                  </a:ext>
                </a:extLst>
              </a:tr>
              <a:tr h="253161">
                <a:tc>
                  <a:txBody>
                    <a:bodyPr/>
                    <a:lstStyle/>
                    <a:p>
                      <a:pPr>
                        <a:buNone/>
                      </a:pPr>
                      <a:r>
                        <a:rPr lang="fr-FR" sz="1200" b="0" dirty="0">
                          <a:solidFill>
                            <a:srgbClr val="000000"/>
                          </a:solidFill>
                          <a:effectLst/>
                          <a:latin typeface="+mn-lt"/>
                        </a:rPr>
                        <a:t>- Préjudice d'affection </a:t>
                      </a:r>
                      <a:endParaRPr lang="fr-FR" sz="1200" b="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buNone/>
                      </a:pPr>
                      <a:r>
                        <a:rPr lang="fr-FR" sz="1200" dirty="0">
                          <a:solidFill>
                            <a:srgbClr val="000000"/>
                          </a:solidFill>
                          <a:effectLst/>
                          <a:latin typeface="+mn-lt"/>
                        </a:rPr>
                        <a:t>- Préjudice professionnel après consolidation </a:t>
                      </a:r>
                      <a:endParaRPr lang="fr-FR" sz="120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100376850"/>
                  </a:ext>
                </a:extLst>
              </a:tr>
              <a:tr h="253161">
                <a:tc>
                  <a:txBody>
                    <a:bodyPr/>
                    <a:lstStyle/>
                    <a:p>
                      <a:pPr>
                        <a:buNone/>
                      </a:pPr>
                      <a:r>
                        <a:rPr lang="fr-FR" sz="1200" b="0" dirty="0">
                          <a:solidFill>
                            <a:srgbClr val="000000"/>
                          </a:solidFill>
                          <a:effectLst/>
                          <a:latin typeface="+mn-lt"/>
                        </a:rPr>
                        <a:t>- Préjudices extra-patrimoniaux exceptionnels</a:t>
                      </a:r>
                      <a:endParaRPr lang="fr-FR" sz="1200" b="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buNone/>
                      </a:pPr>
                      <a:r>
                        <a:rPr lang="fr-FR" sz="1200" dirty="0">
                          <a:solidFill>
                            <a:srgbClr val="000000"/>
                          </a:solidFill>
                          <a:effectLst/>
                          <a:latin typeface="+mn-lt"/>
                        </a:rPr>
                        <a:t>- Préjudice économique du fait du décès </a:t>
                      </a:r>
                      <a:endParaRPr lang="fr-FR" sz="120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590971309"/>
                  </a:ext>
                </a:extLst>
              </a:tr>
              <a:tr h="343237">
                <a:tc>
                  <a:txBody>
                    <a:bodyPr/>
                    <a:lstStyle/>
                    <a:p>
                      <a:pPr>
                        <a:buNone/>
                      </a:pPr>
                      <a:br>
                        <a:rPr lang="fr-FR" sz="1200">
                          <a:effectLst/>
                          <a:latin typeface="+mn-lt"/>
                        </a:rPr>
                      </a:br>
                      <a:endParaRPr lang="fr-FR" sz="120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buNone/>
                      </a:pPr>
                      <a:r>
                        <a:rPr lang="fr-FR" sz="1200" dirty="0">
                          <a:solidFill>
                            <a:srgbClr val="000000"/>
                          </a:solidFill>
                          <a:effectLst/>
                          <a:latin typeface="+mn-lt"/>
                        </a:rPr>
                        <a:t>- Perte d'assistance personnelle ou domestique </a:t>
                      </a:r>
                      <a:endParaRPr lang="fr-FR" sz="120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113989206"/>
                  </a:ext>
                </a:extLst>
              </a:tr>
              <a:tr h="343237">
                <a:tc>
                  <a:txBody>
                    <a:bodyPr/>
                    <a:lstStyle/>
                    <a:p>
                      <a:pPr>
                        <a:buNone/>
                      </a:pPr>
                      <a:br>
                        <a:rPr lang="fr-FR" sz="1200">
                          <a:effectLst/>
                          <a:latin typeface="+mn-lt"/>
                        </a:rPr>
                      </a:br>
                      <a:endParaRPr lang="fr-FR" sz="120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buNone/>
                      </a:pPr>
                      <a:r>
                        <a:rPr lang="fr-FR" sz="1200" dirty="0">
                          <a:solidFill>
                            <a:srgbClr val="000000"/>
                          </a:solidFill>
                          <a:effectLst/>
                          <a:latin typeface="+mn-lt"/>
                        </a:rPr>
                        <a:t>Préjudices corporels : Renvoi à la nomenclature des préjudices de la victime directe</a:t>
                      </a:r>
                      <a:endParaRPr lang="fr-FR" sz="1200" dirty="0">
                        <a:effectLst/>
                        <a:latin typeface="+mn-lt"/>
                      </a:endParaRPr>
                    </a:p>
                  </a:txBody>
                  <a:tcPr marL="13104" marR="13104" marT="13104" marB="13104"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834934819"/>
                  </a:ext>
                </a:extLst>
              </a:tr>
            </a:tbl>
          </a:graphicData>
        </a:graphic>
      </p:graphicFrame>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12</a:t>
            </a:fld>
            <a:endParaRPr lang="fr-FR"/>
          </a:p>
        </p:txBody>
      </p:sp>
      <p:sp>
        <p:nvSpPr>
          <p:cNvPr id="2" name="Espace réservé du pied de page 1">
            <a:extLst>
              <a:ext uri="{FF2B5EF4-FFF2-40B4-BE49-F238E27FC236}">
                <a16:creationId xmlns:a16="http://schemas.microsoft.com/office/drawing/2014/main" id="{64821223-C783-219C-6305-53073CEEE855}"/>
              </a:ext>
            </a:extLst>
          </p:cNvPr>
          <p:cNvSpPr>
            <a:spLocks noGrp="1"/>
          </p:cNvSpPr>
          <p:nvPr>
            <p:ph type="ftr" sz="quarter" idx="11"/>
          </p:nvPr>
        </p:nvSpPr>
        <p:spPr/>
        <p:txBody>
          <a:bodyPr/>
          <a:lstStyle/>
          <a:p>
            <a:r>
              <a:rPr lang="fr-FR" sz="1600" b="1" dirty="0">
                <a:solidFill>
                  <a:schemeClr val="accent1"/>
                </a:solidFill>
              </a:rPr>
              <a:t>LCR</a:t>
            </a:r>
          </a:p>
        </p:txBody>
      </p:sp>
    </p:spTree>
    <p:extLst>
      <p:ext uri="{BB962C8B-B14F-4D97-AF65-F5344CB8AC3E}">
        <p14:creationId xmlns:p14="http://schemas.microsoft.com/office/powerpoint/2010/main" val="26128267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4CCF960-CB56-871D-1078-9F837D2856E4}"/>
              </a:ext>
            </a:extLst>
          </p:cNvPr>
          <p:cNvSpPr>
            <a:spLocks noGrp="1"/>
          </p:cNvSpPr>
          <p:nvPr>
            <p:ph type="title"/>
          </p:nvPr>
        </p:nvSpPr>
        <p:spPr>
          <a:xfrm>
            <a:off x="838200" y="365126"/>
            <a:ext cx="9321800" cy="919221"/>
          </a:xfrm>
        </p:spPr>
        <p:txBody>
          <a:bodyPr/>
          <a:lstStyle/>
          <a:p>
            <a:r>
              <a:rPr lang="fr-FR" dirty="0"/>
              <a:t>Préjudices relationnels de la victime par ricochet</a:t>
            </a:r>
            <a:br>
              <a:rPr lang="fr-FR" dirty="0"/>
            </a:br>
            <a:endParaRPr lang="fr-FR" dirty="0"/>
          </a:p>
        </p:txBody>
      </p:sp>
      <p:sp>
        <p:nvSpPr>
          <p:cNvPr id="3" name="Espace réservé du contenu 2">
            <a:extLst>
              <a:ext uri="{FF2B5EF4-FFF2-40B4-BE49-F238E27FC236}">
                <a16:creationId xmlns:a16="http://schemas.microsoft.com/office/drawing/2014/main" id="{FA5888FB-D9FD-2D8E-E1ED-7AF223546348}"/>
              </a:ext>
            </a:extLst>
          </p:cNvPr>
          <p:cNvSpPr>
            <a:spLocks noGrp="1"/>
          </p:cNvSpPr>
          <p:nvPr>
            <p:ph idx="1"/>
          </p:nvPr>
        </p:nvSpPr>
        <p:spPr>
          <a:xfrm>
            <a:off x="838200" y="1825625"/>
            <a:ext cx="10515600" cy="3978275"/>
          </a:xfrm>
        </p:spPr>
        <p:txBody>
          <a:bodyPr/>
          <a:lstStyle/>
          <a:p>
            <a:r>
              <a:rPr lang="fr-FR" dirty="0">
                <a:solidFill>
                  <a:schemeClr val="accent1"/>
                </a:solidFill>
              </a:rPr>
              <a:t>LCR</a:t>
            </a:r>
          </a:p>
          <a:p>
            <a:endParaRPr lang="fr-FR" dirty="0">
              <a:solidFill>
                <a:schemeClr val="accent1"/>
              </a:solidFill>
            </a:endParaRPr>
          </a:p>
          <a:p>
            <a:pPr lvl="1"/>
            <a:r>
              <a:rPr lang="fr-FR" dirty="0"/>
              <a:t>10 postes de préjudice</a:t>
            </a:r>
          </a:p>
          <a:p>
            <a:pPr lvl="1"/>
            <a:endParaRPr lang="fr-FR" dirty="0"/>
          </a:p>
          <a:p>
            <a:pPr lvl="1"/>
            <a:r>
              <a:rPr lang="fr-FR" dirty="0"/>
              <a:t>Distinction des préjudices temporaires (survenue du faits dommageable jusqu’au décès ou à la consolidation de la victime directe survivante) et des préjudices après le décès ou la consolidation de la victime directe.</a:t>
            </a:r>
          </a:p>
          <a:p>
            <a:pPr lvl="1"/>
            <a:endParaRPr lang="fr-FR" dirty="0"/>
          </a:p>
          <a:p>
            <a:pPr lvl="1"/>
            <a:r>
              <a:rPr lang="fr-FR" dirty="0"/>
              <a:t>Distinction des préjudices extrapatrimoniaux  et des préjudices patrimoniaux</a:t>
            </a:r>
          </a:p>
          <a:p>
            <a:endParaRPr lang="fr-FR" dirty="0"/>
          </a:p>
        </p:txBody>
      </p:sp>
      <p:sp>
        <p:nvSpPr>
          <p:cNvPr id="5" name="Espace réservé du pied de page 4">
            <a:extLst>
              <a:ext uri="{FF2B5EF4-FFF2-40B4-BE49-F238E27FC236}">
                <a16:creationId xmlns:a16="http://schemas.microsoft.com/office/drawing/2014/main" id="{EFE3995A-6D71-EE05-48A3-B7F46D04B3A0}"/>
              </a:ext>
            </a:extLst>
          </p:cNvPr>
          <p:cNvSpPr>
            <a:spLocks noGrp="1"/>
          </p:cNvSpPr>
          <p:nvPr>
            <p:ph type="ftr" sz="quarter" idx="11"/>
          </p:nvPr>
        </p:nvSpPr>
        <p:spPr>
          <a:xfrm>
            <a:off x="3774017" y="6247648"/>
            <a:ext cx="4643966" cy="365125"/>
          </a:xfrm>
        </p:spPr>
        <p:txBody>
          <a:bodyPr/>
          <a:lstStyle/>
          <a:p>
            <a:endParaRPr lang="fr-FR"/>
          </a:p>
        </p:txBody>
      </p:sp>
      <p:sp>
        <p:nvSpPr>
          <p:cNvPr id="4" name="Espace réservé du numéro de diapositive 3">
            <a:extLst>
              <a:ext uri="{FF2B5EF4-FFF2-40B4-BE49-F238E27FC236}">
                <a16:creationId xmlns:a16="http://schemas.microsoft.com/office/drawing/2014/main" id="{5B1198E3-F2DB-4E51-0444-9648BAA4F6EF}"/>
              </a:ext>
            </a:extLst>
          </p:cNvPr>
          <p:cNvSpPr>
            <a:spLocks noGrp="1"/>
          </p:cNvSpPr>
          <p:nvPr>
            <p:ph type="sldNum" sz="quarter" idx="12"/>
          </p:nvPr>
        </p:nvSpPr>
        <p:spPr>
          <a:xfrm>
            <a:off x="11506200" y="85407"/>
            <a:ext cx="685800" cy="365125"/>
          </a:xfrm>
        </p:spPr>
        <p:txBody>
          <a:bodyPr/>
          <a:lstStyle/>
          <a:p>
            <a:fld id="{8415421A-8635-4166-92D2-5F6D44CB9F91}" type="slidenum">
              <a:rPr lang="fr-FR" smtClean="0"/>
              <a:pPr/>
              <a:t>13</a:t>
            </a:fld>
            <a:endParaRPr lang="fr-FR"/>
          </a:p>
        </p:txBody>
      </p:sp>
    </p:spTree>
    <p:extLst>
      <p:ext uri="{BB962C8B-B14F-4D97-AF65-F5344CB8AC3E}">
        <p14:creationId xmlns:p14="http://schemas.microsoft.com/office/powerpoint/2010/main" val="14707303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9DD63B-752E-BC80-C6FE-43420E6899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421FC4-6FFD-D713-DCF0-1430E24821A8}"/>
              </a:ext>
            </a:extLst>
          </p:cNvPr>
          <p:cNvSpPr>
            <a:spLocks noGrp="1"/>
          </p:cNvSpPr>
          <p:nvPr>
            <p:ph type="title"/>
          </p:nvPr>
        </p:nvSpPr>
        <p:spPr>
          <a:xfrm>
            <a:off x="838200" y="365126"/>
            <a:ext cx="9321800" cy="919221"/>
          </a:xfrm>
        </p:spPr>
        <p:txBody>
          <a:bodyPr/>
          <a:lstStyle/>
          <a:p>
            <a:r>
              <a:rPr lang="fr-FR" dirty="0"/>
              <a:t>I. Préjudices temporaires</a:t>
            </a:r>
            <a:br>
              <a:rPr lang="fr-FR" dirty="0"/>
            </a:br>
            <a:endParaRPr lang="fr-FR" dirty="0"/>
          </a:p>
        </p:txBody>
      </p:sp>
      <p:sp>
        <p:nvSpPr>
          <p:cNvPr id="44" name="Content Placeholder 43">
            <a:extLst>
              <a:ext uri="{FF2B5EF4-FFF2-40B4-BE49-F238E27FC236}">
                <a16:creationId xmlns:a16="http://schemas.microsoft.com/office/drawing/2014/main" id="{C90F0FE6-64D6-E832-4770-E2DC6A951EC0}"/>
              </a:ext>
            </a:extLst>
          </p:cNvPr>
          <p:cNvSpPr>
            <a:spLocks noGrp="1"/>
          </p:cNvSpPr>
          <p:nvPr>
            <p:ph idx="1"/>
          </p:nvPr>
        </p:nvSpPr>
        <p:spPr>
          <a:xfrm>
            <a:off x="838200" y="1825625"/>
            <a:ext cx="10515600" cy="3978275"/>
          </a:xfrm>
        </p:spPr>
        <p:txBody>
          <a:bodyPr/>
          <a:lstStyle/>
          <a:p>
            <a:r>
              <a:rPr lang="fr-FR" dirty="0">
                <a:solidFill>
                  <a:schemeClr val="accent1"/>
                </a:solidFill>
              </a:rPr>
              <a:t>LCR</a:t>
            </a:r>
          </a:p>
          <a:p>
            <a:endParaRPr lang="fr-FR" dirty="0">
              <a:solidFill>
                <a:schemeClr val="accent1"/>
              </a:solidFill>
            </a:endParaRPr>
          </a:p>
          <a:p>
            <a:r>
              <a:rPr lang="fr-FR" dirty="0"/>
              <a:t>Il s’agit des postes de préjudice subis de la date du fait générateur au décès ou à la date de consolidation de la victime directe.</a:t>
            </a:r>
          </a:p>
          <a:p>
            <a:r>
              <a:rPr lang="fr-FR" dirty="0"/>
              <a:t>Les postes patrimoniaux découlant très largement des relations de la victime par ricochet avec la victime directe, il a été décidé d’évoquer d’abord les préjudices extrapatrimoniaux et ensuite les préjudices patrimoniaux.</a:t>
            </a:r>
          </a:p>
        </p:txBody>
      </p:sp>
      <p:sp>
        <p:nvSpPr>
          <p:cNvPr id="3" name="Espace réservé du pied de page 2">
            <a:extLst>
              <a:ext uri="{FF2B5EF4-FFF2-40B4-BE49-F238E27FC236}">
                <a16:creationId xmlns:a16="http://schemas.microsoft.com/office/drawing/2014/main" id="{4C16B93A-78E1-C6E9-7627-EC303B403381}"/>
              </a:ext>
            </a:extLst>
          </p:cNvPr>
          <p:cNvSpPr>
            <a:spLocks noGrp="1"/>
          </p:cNvSpPr>
          <p:nvPr>
            <p:ph type="ftr" sz="quarter" idx="11"/>
          </p:nvPr>
        </p:nvSpPr>
        <p:spPr>
          <a:xfrm>
            <a:off x="3774017" y="6247648"/>
            <a:ext cx="4643966" cy="365125"/>
          </a:xfrm>
        </p:spPr>
        <p:txBody>
          <a:bodyPr/>
          <a:lstStyle/>
          <a:p>
            <a:endParaRPr lang="fr-FR"/>
          </a:p>
        </p:txBody>
      </p:sp>
      <p:sp>
        <p:nvSpPr>
          <p:cNvPr id="5" name="Slide Number Placeholder 4">
            <a:extLst>
              <a:ext uri="{FF2B5EF4-FFF2-40B4-BE49-F238E27FC236}">
                <a16:creationId xmlns:a16="http://schemas.microsoft.com/office/drawing/2014/main" id="{84AA7C44-CA56-9708-A126-30183402DF46}"/>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14</a:t>
            </a:fld>
            <a:endParaRPr lang="fr-FR"/>
          </a:p>
        </p:txBody>
      </p:sp>
    </p:spTree>
    <p:extLst>
      <p:ext uri="{BB962C8B-B14F-4D97-AF65-F5344CB8AC3E}">
        <p14:creationId xmlns:p14="http://schemas.microsoft.com/office/powerpoint/2010/main" val="6551962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75BD71-3C1B-3495-1A14-7A17CCF8B9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DEE0E5-A3CA-AB00-8B54-2BBFC8DF4D2B}"/>
              </a:ext>
            </a:extLst>
          </p:cNvPr>
          <p:cNvSpPr>
            <a:spLocks noGrp="1"/>
          </p:cNvSpPr>
          <p:nvPr>
            <p:ph type="ctrTitle"/>
          </p:nvPr>
        </p:nvSpPr>
        <p:spPr/>
        <p:txBody>
          <a:bodyPr/>
          <a:lstStyle/>
          <a:p>
            <a:r>
              <a:rPr lang="fr-FR" b="0" dirty="0">
                <a:latin typeface="Futura Std Book" panose="020B0502020204020303" pitchFamily="34" charset="0"/>
              </a:rPr>
              <a:t>A. Préjudices extra patrimoniaux temporaires</a:t>
            </a:r>
            <a:br>
              <a:rPr lang="fr-FR" dirty="0">
                <a:latin typeface="Futura Std Book" panose="020B0502020204020303" pitchFamily="34" charset="0"/>
              </a:rPr>
            </a:br>
            <a:endParaRPr lang="fr-FR" dirty="0">
              <a:latin typeface="Futura Std Book" panose="020B0502020204020303" pitchFamily="34" charset="0"/>
            </a:endParaRPr>
          </a:p>
        </p:txBody>
      </p:sp>
      <p:sp>
        <p:nvSpPr>
          <p:cNvPr id="5" name="Slide Number Placeholder 4">
            <a:extLst>
              <a:ext uri="{FF2B5EF4-FFF2-40B4-BE49-F238E27FC236}">
                <a16:creationId xmlns:a16="http://schemas.microsoft.com/office/drawing/2014/main" id="{3CFE2F85-350A-1B31-A0C5-AED0CBDB3A99}"/>
              </a:ext>
            </a:extLst>
          </p:cNvPr>
          <p:cNvSpPr>
            <a:spLocks noGrp="1"/>
          </p:cNvSpPr>
          <p:nvPr>
            <p:ph type="sldNum" sz="quarter" idx="4294967295"/>
            <p:custDataLst>
              <p:tags r:id="rId1"/>
            </p:custDataLst>
          </p:nvPr>
        </p:nvSpPr>
        <p:spPr>
          <a:xfrm>
            <a:off x="11506200" y="85725"/>
            <a:ext cx="685800" cy="365125"/>
          </a:xfrm>
        </p:spPr>
        <p:txBody>
          <a:bodyPr/>
          <a:lstStyle/>
          <a:p>
            <a:fld id="{8415421A-8635-4166-92D2-5F6D44CB9F91}" type="slidenum">
              <a:rPr lang="fr-FR" smtClean="0"/>
              <a:pPr/>
              <a:t>15</a:t>
            </a:fld>
            <a:endParaRPr lang="fr-FR"/>
          </a:p>
        </p:txBody>
      </p:sp>
      <p:sp>
        <p:nvSpPr>
          <p:cNvPr id="8" name="Content Placeholder 7">
            <a:extLst>
              <a:ext uri="{FF2B5EF4-FFF2-40B4-BE49-F238E27FC236}">
                <a16:creationId xmlns:a16="http://schemas.microsoft.com/office/drawing/2014/main" id="{8EC1020C-6F96-F30C-F24E-9A74F97CF971}"/>
              </a:ext>
            </a:extLst>
          </p:cNvPr>
          <p:cNvSpPr>
            <a:spLocks noGrp="1"/>
          </p:cNvSpPr>
          <p:nvPr>
            <p:ph idx="4294967295"/>
          </p:nvPr>
        </p:nvSpPr>
        <p:spPr>
          <a:xfrm>
            <a:off x="685800" y="3302000"/>
            <a:ext cx="10515600" cy="669925"/>
          </a:xfrm>
        </p:spPr>
        <p:txBody>
          <a:bodyPr/>
          <a:lstStyle/>
          <a:p>
            <a:r>
              <a:rPr lang="fr-FR" dirty="0">
                <a:solidFill>
                  <a:schemeClr val="accent1"/>
                </a:solidFill>
              </a:rPr>
              <a:t>LCR</a:t>
            </a:r>
          </a:p>
        </p:txBody>
      </p:sp>
    </p:spTree>
    <p:extLst>
      <p:ext uri="{BB962C8B-B14F-4D97-AF65-F5344CB8AC3E}">
        <p14:creationId xmlns:p14="http://schemas.microsoft.com/office/powerpoint/2010/main" val="23159836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730083-2AEA-541C-DBA6-4E5599A162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2A0CAB-F069-D677-EAC6-8E28D82C052D}"/>
              </a:ext>
            </a:extLst>
          </p:cNvPr>
          <p:cNvSpPr>
            <a:spLocks noGrp="1"/>
          </p:cNvSpPr>
          <p:nvPr>
            <p:ph type="title"/>
          </p:nvPr>
        </p:nvSpPr>
        <p:spPr>
          <a:xfrm>
            <a:off x="838200" y="365126"/>
            <a:ext cx="9321800" cy="919221"/>
          </a:xfrm>
        </p:spPr>
        <p:txBody>
          <a:bodyPr/>
          <a:lstStyle/>
          <a:p>
            <a:r>
              <a:rPr lang="fr-FR" dirty="0"/>
              <a:t>1°) Préjudice d’attente et d’inquiétude </a:t>
            </a:r>
            <a:br>
              <a:rPr lang="fr-FR" dirty="0"/>
            </a:br>
            <a:endParaRPr lang="fr-FR" dirty="0"/>
          </a:p>
        </p:txBody>
      </p:sp>
      <p:sp>
        <p:nvSpPr>
          <p:cNvPr id="44" name="Content Placeholder 43">
            <a:extLst>
              <a:ext uri="{FF2B5EF4-FFF2-40B4-BE49-F238E27FC236}">
                <a16:creationId xmlns:a16="http://schemas.microsoft.com/office/drawing/2014/main" id="{9A418C19-376E-9D9B-BB68-8A88A84ED3A7}"/>
              </a:ext>
            </a:extLst>
          </p:cNvPr>
          <p:cNvSpPr>
            <a:spLocks noGrp="1"/>
          </p:cNvSpPr>
          <p:nvPr>
            <p:ph idx="1"/>
          </p:nvPr>
        </p:nvSpPr>
        <p:spPr>
          <a:xfrm>
            <a:off x="838200" y="1044575"/>
            <a:ext cx="10515600" cy="5568950"/>
          </a:xfrm>
        </p:spPr>
        <p:txBody>
          <a:bodyPr/>
          <a:lstStyle/>
          <a:p>
            <a:r>
              <a:rPr lang="fr-FR" sz="1600" dirty="0">
                <a:solidFill>
                  <a:schemeClr val="accent1"/>
                </a:solidFill>
              </a:rPr>
              <a:t>LCR</a:t>
            </a:r>
          </a:p>
          <a:p>
            <a:r>
              <a:rPr lang="fr-FR" sz="1600" b="1" dirty="0">
                <a:solidFill>
                  <a:schemeClr val="accent1"/>
                </a:solidFill>
              </a:rPr>
              <a:t>cf. Cour de Cassation Chambre mixte – 25.03.2022, n° 20-17.072 et 20-15.624</a:t>
            </a:r>
          </a:p>
          <a:p>
            <a:r>
              <a:rPr lang="fr-FR" sz="1600" dirty="0"/>
              <a:t>Le préjudice d’attente et d’inquiétude est défini comme la souffrance des proches de la victime directe qui apprennent que celle-ci se trouve ou s'est trouvée exposée, à l'occasion d'un événement, individuel ou collectif, à un péril de nature à porter atteinte à son intégrité corporelle, et éprouvent une inquiétude liée à la découverte soudaine de ce danger et à l'incertitude pesant sur son </a:t>
            </a:r>
            <a:r>
              <a:rPr lang="fr-FR" sz="1600" dirty="0" err="1"/>
              <a:t>sort.Cette</a:t>
            </a:r>
            <a:r>
              <a:rPr lang="fr-FR" sz="1600" dirty="0"/>
              <a:t> souffrance, qui survient antérieurement à la connaissance de la situation réelle de la personne exposée au péril et qui naît de l'attente et de l'incertitude, est en soi constitutive d'un préjudice directement lié aux circonstances contemporaines de l'événement.</a:t>
            </a:r>
          </a:p>
          <a:p>
            <a:r>
              <a:rPr lang="fr-FR" sz="1600" dirty="0"/>
              <a:t>Ce préjudice se réalise ainsi entre la découverte de l'événement par les proches et leur connaissance de son issue pour la personne exposée au péril. </a:t>
            </a:r>
          </a:p>
          <a:p>
            <a:r>
              <a:rPr lang="fr-FR" sz="1600" dirty="0"/>
              <a:t>Il s’apprécie en fonction des critères non limitatifs suivants : </a:t>
            </a:r>
          </a:p>
          <a:p>
            <a:pPr lvl="1"/>
            <a:r>
              <a:rPr lang="fr-FR" sz="1600" dirty="0"/>
              <a:t>Lien affectif avec la victime directe</a:t>
            </a:r>
          </a:p>
          <a:p>
            <a:pPr lvl="1"/>
            <a:r>
              <a:rPr lang="fr-FR" sz="1600" dirty="0"/>
              <a:t>Le moment et le vecteur de la connaissance de l’événement et de l’état de santé de la victime </a:t>
            </a:r>
          </a:p>
          <a:p>
            <a:pPr lvl="1"/>
            <a:r>
              <a:rPr lang="fr-FR" sz="1600" dirty="0"/>
              <a:t>La présence physique ou l’impossibilité d’accès au proche </a:t>
            </a:r>
          </a:p>
          <a:p>
            <a:pPr lvl="1"/>
            <a:r>
              <a:rPr lang="fr-FR" sz="1600" dirty="0"/>
              <a:t>L’attente des secours</a:t>
            </a:r>
          </a:p>
          <a:p>
            <a:pPr lvl="1"/>
            <a:r>
              <a:rPr lang="fr-FR" sz="1600" dirty="0"/>
              <a:t>Les perturbations de l’intimité (exposition aux médias, intrusions, etc.) </a:t>
            </a:r>
          </a:p>
          <a:p>
            <a:pPr lvl="1"/>
            <a:r>
              <a:rPr lang="fr-FR" sz="1600" dirty="0"/>
              <a:t>Le rôle du proche dans l’information d’autres membres de la famille ou du cercle amical</a:t>
            </a:r>
          </a:p>
          <a:p>
            <a:pPr lvl="1"/>
            <a:r>
              <a:rPr lang="fr-FR" sz="1600" dirty="0"/>
              <a:t>La durée d’attente avant d’obtenir l’information sur l’état de la victime directe</a:t>
            </a:r>
          </a:p>
          <a:p>
            <a:endParaRPr lang="fr-FR" sz="1600" dirty="0"/>
          </a:p>
        </p:txBody>
      </p:sp>
      <p:sp>
        <p:nvSpPr>
          <p:cNvPr id="3" name="Espace réservé du pied de page 2">
            <a:extLst>
              <a:ext uri="{FF2B5EF4-FFF2-40B4-BE49-F238E27FC236}">
                <a16:creationId xmlns:a16="http://schemas.microsoft.com/office/drawing/2014/main" id="{361218B8-0E88-B3A8-B331-21E7675D6602}"/>
              </a:ext>
            </a:extLst>
          </p:cNvPr>
          <p:cNvSpPr>
            <a:spLocks noGrp="1"/>
          </p:cNvSpPr>
          <p:nvPr>
            <p:ph type="ftr" sz="quarter" idx="11"/>
          </p:nvPr>
        </p:nvSpPr>
        <p:spPr>
          <a:xfrm>
            <a:off x="3774017" y="6247648"/>
            <a:ext cx="4643966" cy="365125"/>
          </a:xfrm>
        </p:spPr>
        <p:txBody>
          <a:bodyPr/>
          <a:lstStyle/>
          <a:p>
            <a:endParaRPr lang="fr-FR"/>
          </a:p>
        </p:txBody>
      </p:sp>
      <p:sp>
        <p:nvSpPr>
          <p:cNvPr id="5" name="Slide Number Placeholder 4">
            <a:extLst>
              <a:ext uri="{FF2B5EF4-FFF2-40B4-BE49-F238E27FC236}">
                <a16:creationId xmlns:a16="http://schemas.microsoft.com/office/drawing/2014/main" id="{1216FA4A-258E-7525-A5AB-3A878E5A01D1}"/>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16</a:t>
            </a:fld>
            <a:endParaRPr lang="fr-FR"/>
          </a:p>
        </p:txBody>
      </p:sp>
    </p:spTree>
    <p:extLst>
      <p:ext uri="{BB962C8B-B14F-4D97-AF65-F5344CB8AC3E}">
        <p14:creationId xmlns:p14="http://schemas.microsoft.com/office/powerpoint/2010/main" val="32624110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318CD7-1D22-426B-8E91-C5696D8FBC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D90EF6-690D-C0C3-BBA3-A14F4C0AF044}"/>
              </a:ext>
            </a:extLst>
          </p:cNvPr>
          <p:cNvSpPr>
            <a:spLocks noGrp="1"/>
          </p:cNvSpPr>
          <p:nvPr>
            <p:ph type="title"/>
          </p:nvPr>
        </p:nvSpPr>
        <p:spPr>
          <a:xfrm>
            <a:off x="838200" y="365126"/>
            <a:ext cx="9321800" cy="919221"/>
          </a:xfrm>
        </p:spPr>
        <p:txBody>
          <a:bodyPr/>
          <a:lstStyle/>
          <a:p>
            <a:r>
              <a:rPr lang="fr-FR" dirty="0"/>
              <a:t>2°) Préjudice d’accompagnement</a:t>
            </a:r>
            <a:br>
              <a:rPr lang="fr-FR" dirty="0"/>
            </a:br>
            <a:endParaRPr lang="fr-FR" dirty="0"/>
          </a:p>
        </p:txBody>
      </p:sp>
      <p:sp>
        <p:nvSpPr>
          <p:cNvPr id="44" name="Content Placeholder 43">
            <a:extLst>
              <a:ext uri="{FF2B5EF4-FFF2-40B4-BE49-F238E27FC236}">
                <a16:creationId xmlns:a16="http://schemas.microsoft.com/office/drawing/2014/main" id="{6B7498ED-A69F-28F7-077C-75948F608F7F}"/>
              </a:ext>
            </a:extLst>
          </p:cNvPr>
          <p:cNvSpPr>
            <a:spLocks noGrp="1"/>
          </p:cNvSpPr>
          <p:nvPr>
            <p:ph idx="1"/>
          </p:nvPr>
        </p:nvSpPr>
        <p:spPr>
          <a:xfrm>
            <a:off x="838200" y="1549400"/>
            <a:ext cx="10515600" cy="3978275"/>
          </a:xfrm>
        </p:spPr>
        <p:txBody>
          <a:bodyPr/>
          <a:lstStyle/>
          <a:p>
            <a:r>
              <a:rPr lang="fr-FR" dirty="0">
                <a:solidFill>
                  <a:schemeClr val="accent1"/>
                </a:solidFill>
              </a:rPr>
              <a:t>LCR</a:t>
            </a:r>
          </a:p>
          <a:p>
            <a:r>
              <a:rPr lang="fr-FR" dirty="0"/>
              <a:t>Il s’agit de réparer le préjudice  le bouleversement tant émotionnel que dans les conditions d’existence provoqué par l’atteinte de la victime directe à compter du fait générateur, pendant sa maladie traumatique et jusqu’à son décès ou la consolidation.</a:t>
            </a:r>
          </a:p>
          <a:p>
            <a:r>
              <a:rPr lang="fr-FR" dirty="0"/>
              <a:t>Il s’agit d’indemniser la souffrance qui assaille les proches durant leur accompagnement de la victime directe. Ce poste prend en compte notamment la crainte du décès ou du handicap  de la victime directe, la tristesse devant le caractère inéluctable du décès ou du handicap, la difficulté morale de devoir dissimuler ses sentiments pour apporter à la victime directe tout le soutien dont elle a besoin.</a:t>
            </a:r>
          </a:p>
          <a:p>
            <a:r>
              <a:rPr lang="fr-FR" dirty="0"/>
              <a:t>Il s’agit aussi de prendre en compte la survenance soudaine de troubles dans les conditions d’existence provoqués par l’atteinte de la victime directe qui impose à la victime par ricochet de bousculer ses habitudes de vie familiales et personnelles pendant la période de survie ou jusqu’à la consolidation.</a:t>
            </a:r>
          </a:p>
          <a:p>
            <a:r>
              <a:rPr lang="fr-FR" dirty="0"/>
              <a:t>L’indemnisation prend en compte la durée et l’intensité des souffrances et des atteintes aux conditions de vie de la victime par ricochet en se référant, notamment, aux périodes d’hospitalisation et aux atteintes fonctionnelles de la victime directe.</a:t>
            </a:r>
          </a:p>
          <a:p>
            <a:endParaRPr lang="fr-FR" dirty="0"/>
          </a:p>
        </p:txBody>
      </p:sp>
      <p:sp>
        <p:nvSpPr>
          <p:cNvPr id="3" name="Espace réservé du pied de page 2">
            <a:extLst>
              <a:ext uri="{FF2B5EF4-FFF2-40B4-BE49-F238E27FC236}">
                <a16:creationId xmlns:a16="http://schemas.microsoft.com/office/drawing/2014/main" id="{3DE77C6C-72C0-B1E1-775C-FA6C6AD68AC3}"/>
              </a:ext>
            </a:extLst>
          </p:cNvPr>
          <p:cNvSpPr>
            <a:spLocks noGrp="1"/>
          </p:cNvSpPr>
          <p:nvPr>
            <p:ph type="ftr" sz="quarter" idx="11"/>
          </p:nvPr>
        </p:nvSpPr>
        <p:spPr>
          <a:xfrm>
            <a:off x="3774017" y="6247648"/>
            <a:ext cx="4643966" cy="365125"/>
          </a:xfrm>
        </p:spPr>
        <p:txBody>
          <a:bodyPr/>
          <a:lstStyle/>
          <a:p>
            <a:endParaRPr lang="fr-FR"/>
          </a:p>
        </p:txBody>
      </p:sp>
      <p:sp>
        <p:nvSpPr>
          <p:cNvPr id="5" name="Slide Number Placeholder 4">
            <a:extLst>
              <a:ext uri="{FF2B5EF4-FFF2-40B4-BE49-F238E27FC236}">
                <a16:creationId xmlns:a16="http://schemas.microsoft.com/office/drawing/2014/main" id="{8B062CA2-D48D-260D-53A8-404DCD7EDDF8}"/>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17</a:t>
            </a:fld>
            <a:endParaRPr lang="fr-FR"/>
          </a:p>
        </p:txBody>
      </p:sp>
    </p:spTree>
    <p:extLst>
      <p:ext uri="{BB962C8B-B14F-4D97-AF65-F5344CB8AC3E}">
        <p14:creationId xmlns:p14="http://schemas.microsoft.com/office/powerpoint/2010/main" val="40191178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6FBAC5-BA4A-E786-575A-568BB43E15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186DB6-0938-6A91-CA00-496BE36EB5BD}"/>
              </a:ext>
            </a:extLst>
          </p:cNvPr>
          <p:cNvSpPr>
            <a:spLocks noGrp="1"/>
          </p:cNvSpPr>
          <p:nvPr>
            <p:ph type="ctrTitle"/>
          </p:nvPr>
        </p:nvSpPr>
        <p:spPr/>
        <p:txBody>
          <a:bodyPr/>
          <a:lstStyle/>
          <a:p>
            <a:r>
              <a:rPr lang="fr-FR" b="0" dirty="0">
                <a:latin typeface="Futura Std Book" panose="020B0502020204020303" pitchFamily="34" charset="0"/>
              </a:rPr>
              <a:t>B. Préjudices patrimoniaux temporaires</a:t>
            </a:r>
            <a:br>
              <a:rPr lang="fr-FR" b="0" dirty="0">
                <a:latin typeface="Futura Std Book" panose="020B0502020204020303" pitchFamily="34" charset="0"/>
              </a:rPr>
            </a:br>
            <a:endParaRPr lang="fr-FR" b="0" dirty="0">
              <a:latin typeface="Futura Std Book" panose="020B0502020204020303" pitchFamily="34" charset="0"/>
            </a:endParaRPr>
          </a:p>
        </p:txBody>
      </p:sp>
      <p:sp>
        <p:nvSpPr>
          <p:cNvPr id="5" name="Slide Number Placeholder 4">
            <a:extLst>
              <a:ext uri="{FF2B5EF4-FFF2-40B4-BE49-F238E27FC236}">
                <a16:creationId xmlns:a16="http://schemas.microsoft.com/office/drawing/2014/main" id="{2684BE24-0C2B-E0B4-770E-561F776AB293}"/>
              </a:ext>
            </a:extLst>
          </p:cNvPr>
          <p:cNvSpPr>
            <a:spLocks noGrp="1"/>
          </p:cNvSpPr>
          <p:nvPr>
            <p:ph type="sldNum" sz="quarter" idx="4294967295"/>
            <p:custDataLst>
              <p:tags r:id="rId1"/>
            </p:custDataLst>
          </p:nvPr>
        </p:nvSpPr>
        <p:spPr>
          <a:xfrm>
            <a:off x="11506200" y="85725"/>
            <a:ext cx="685800" cy="365125"/>
          </a:xfrm>
        </p:spPr>
        <p:txBody>
          <a:bodyPr/>
          <a:lstStyle/>
          <a:p>
            <a:fld id="{8415421A-8635-4166-92D2-5F6D44CB9F91}" type="slidenum">
              <a:rPr lang="fr-FR" smtClean="0"/>
              <a:pPr/>
              <a:t>18</a:t>
            </a:fld>
            <a:endParaRPr lang="fr-FR"/>
          </a:p>
        </p:txBody>
      </p:sp>
      <p:sp>
        <p:nvSpPr>
          <p:cNvPr id="8" name="Content Placeholder 7">
            <a:extLst>
              <a:ext uri="{FF2B5EF4-FFF2-40B4-BE49-F238E27FC236}">
                <a16:creationId xmlns:a16="http://schemas.microsoft.com/office/drawing/2014/main" id="{21015A58-3373-D605-812C-8CD5A3796F4A}"/>
              </a:ext>
            </a:extLst>
          </p:cNvPr>
          <p:cNvSpPr>
            <a:spLocks noGrp="1"/>
          </p:cNvSpPr>
          <p:nvPr>
            <p:ph idx="4294967295"/>
          </p:nvPr>
        </p:nvSpPr>
        <p:spPr>
          <a:xfrm>
            <a:off x="680545" y="3293922"/>
            <a:ext cx="3739055" cy="828394"/>
          </a:xfrm>
        </p:spPr>
        <p:txBody>
          <a:bodyPr/>
          <a:lstStyle/>
          <a:p>
            <a:r>
              <a:rPr lang="fr-FR" dirty="0">
                <a:solidFill>
                  <a:schemeClr val="accent1"/>
                </a:solidFill>
              </a:rPr>
              <a:t>MM</a:t>
            </a:r>
          </a:p>
        </p:txBody>
      </p:sp>
    </p:spTree>
    <p:extLst>
      <p:ext uri="{BB962C8B-B14F-4D97-AF65-F5344CB8AC3E}">
        <p14:creationId xmlns:p14="http://schemas.microsoft.com/office/powerpoint/2010/main" val="27546789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28F07A-399D-5F9A-6CFB-EA546A2326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A44F4F-4226-8D0B-58E7-37A956D92318}"/>
              </a:ext>
            </a:extLst>
          </p:cNvPr>
          <p:cNvSpPr>
            <a:spLocks noGrp="1"/>
          </p:cNvSpPr>
          <p:nvPr>
            <p:ph type="title"/>
          </p:nvPr>
        </p:nvSpPr>
        <p:spPr>
          <a:xfrm>
            <a:off x="838200" y="365126"/>
            <a:ext cx="9321800" cy="919221"/>
          </a:xfrm>
        </p:spPr>
        <p:txBody>
          <a:bodyPr/>
          <a:lstStyle/>
          <a:p>
            <a:r>
              <a:rPr lang="fr-FR" dirty="0"/>
              <a:t>1°) Frais et besoins divers temporaires</a:t>
            </a:r>
            <a:br>
              <a:rPr lang="fr-FR" dirty="0"/>
            </a:br>
            <a:endParaRPr lang="fr-FR" dirty="0"/>
          </a:p>
        </p:txBody>
      </p:sp>
      <p:sp>
        <p:nvSpPr>
          <p:cNvPr id="44" name="Content Placeholder 43">
            <a:extLst>
              <a:ext uri="{FF2B5EF4-FFF2-40B4-BE49-F238E27FC236}">
                <a16:creationId xmlns:a16="http://schemas.microsoft.com/office/drawing/2014/main" id="{80F89F05-5809-3E05-9709-7EDD1DAC1A66}"/>
              </a:ext>
            </a:extLst>
          </p:cNvPr>
          <p:cNvSpPr>
            <a:spLocks noGrp="1"/>
          </p:cNvSpPr>
          <p:nvPr>
            <p:ph idx="1"/>
          </p:nvPr>
        </p:nvSpPr>
        <p:spPr>
          <a:xfrm>
            <a:off x="838200" y="1112838"/>
            <a:ext cx="10782300" cy="5208587"/>
          </a:xfrm>
        </p:spPr>
        <p:txBody>
          <a:bodyPr/>
          <a:lstStyle/>
          <a:p>
            <a:r>
              <a:rPr lang="fr-FR" sz="1600" dirty="0"/>
              <a:t>MM</a:t>
            </a:r>
          </a:p>
          <a:p>
            <a:r>
              <a:rPr lang="fr-FR" sz="1600" dirty="0"/>
              <a:t>Ce poste de préjudice vise à indemniser les frais divers des proches à compter du fait générateur et jusqu’à la consolidation ou le décès.</a:t>
            </a:r>
          </a:p>
          <a:p>
            <a:r>
              <a:rPr lang="fr-FR" sz="1600" dirty="0"/>
              <a:t>Il couvre ainsi, d’une part, les frais exposés par la victime par ricochet </a:t>
            </a:r>
            <a:r>
              <a:rPr lang="fr-FR" sz="1600" b="1" dirty="0"/>
              <a:t>pour être au chevet de la victime directe ou la recevoir à domicile tels que par exemple : </a:t>
            </a:r>
          </a:p>
          <a:p>
            <a:pPr lvl="1"/>
            <a:r>
              <a:rPr lang="fr-FR" sz="1600" dirty="0"/>
              <a:t>Frais de déplacements</a:t>
            </a:r>
          </a:p>
          <a:p>
            <a:pPr lvl="1"/>
            <a:r>
              <a:rPr lang="fr-FR" sz="1600" dirty="0"/>
              <a:t>Frais d’hébergement et de restauration</a:t>
            </a:r>
          </a:p>
          <a:p>
            <a:pPr lvl="1"/>
            <a:r>
              <a:rPr lang="fr-FR" sz="1600" dirty="0"/>
              <a:t>Frais d’aménagement</a:t>
            </a:r>
          </a:p>
          <a:p>
            <a:pPr lvl="1"/>
            <a:r>
              <a:rPr lang="fr-FR" sz="1600" dirty="0"/>
              <a:t>Frais liés à l’annulation de voyage</a:t>
            </a:r>
          </a:p>
          <a:p>
            <a:pPr lvl="1"/>
            <a:r>
              <a:rPr lang="fr-FR" sz="1600" dirty="0"/>
              <a:t>Frais liés à un retour anticipé</a:t>
            </a:r>
          </a:p>
          <a:p>
            <a:pPr lvl="1"/>
            <a:r>
              <a:rPr lang="fr-FR" sz="1600" dirty="0"/>
              <a:t>…</a:t>
            </a:r>
          </a:p>
          <a:p>
            <a:r>
              <a:rPr lang="fr-FR" sz="1600" dirty="0"/>
              <a:t>D’autre part, sont également indemnisés à ce titre, les préjudices subis par la victime par ricochet du fait de l’indisponibilité de la victime directe qui lui portait assistance et qui ne relèvent pas de l’aide à la personne de la victime directe.</a:t>
            </a:r>
          </a:p>
          <a:p>
            <a:r>
              <a:rPr lang="fr-FR" sz="1600" dirty="0"/>
              <a:t>Tel est le cas de la victime par ricochet qui bénéficiait de l’aide de la victime directe pour effectuer une tâche qu’elle n’avait pas la disponibilité, les capacités matérielles ou physiques de réaliser elle-même.</a:t>
            </a:r>
          </a:p>
          <a:p>
            <a:r>
              <a:rPr lang="fr-FR" sz="1600" dirty="0"/>
              <a:t>Pour exemple : il s’agit de la perte temporaire de l’aide de la grand-mère victime directe qui gardait ses petits-enfants, la perte de l’aide temporaire de l’épouse victime directe qui aidait son conjoint diminué etc.…</a:t>
            </a:r>
          </a:p>
          <a:p>
            <a:endParaRPr lang="fr-FR" sz="1600" dirty="0"/>
          </a:p>
        </p:txBody>
      </p:sp>
      <p:sp>
        <p:nvSpPr>
          <p:cNvPr id="3" name="Espace réservé du pied de page 2">
            <a:extLst>
              <a:ext uri="{FF2B5EF4-FFF2-40B4-BE49-F238E27FC236}">
                <a16:creationId xmlns:a16="http://schemas.microsoft.com/office/drawing/2014/main" id="{41D27AAB-E008-5027-3708-34FB95A76E3C}"/>
              </a:ext>
            </a:extLst>
          </p:cNvPr>
          <p:cNvSpPr>
            <a:spLocks noGrp="1"/>
          </p:cNvSpPr>
          <p:nvPr>
            <p:ph type="ftr" sz="quarter" idx="11"/>
          </p:nvPr>
        </p:nvSpPr>
        <p:spPr>
          <a:xfrm>
            <a:off x="3774017" y="6247648"/>
            <a:ext cx="4643966" cy="365125"/>
          </a:xfrm>
        </p:spPr>
        <p:txBody>
          <a:bodyPr/>
          <a:lstStyle/>
          <a:p>
            <a:endParaRPr lang="fr-FR"/>
          </a:p>
        </p:txBody>
      </p:sp>
      <p:sp>
        <p:nvSpPr>
          <p:cNvPr id="5" name="Slide Number Placeholder 4">
            <a:extLst>
              <a:ext uri="{FF2B5EF4-FFF2-40B4-BE49-F238E27FC236}">
                <a16:creationId xmlns:a16="http://schemas.microsoft.com/office/drawing/2014/main" id="{444D6F44-238F-487F-CE41-124CFCC23D2E}"/>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19</a:t>
            </a:fld>
            <a:endParaRPr lang="fr-FR"/>
          </a:p>
        </p:txBody>
      </p:sp>
    </p:spTree>
    <p:extLst>
      <p:ext uri="{BB962C8B-B14F-4D97-AF65-F5344CB8AC3E}">
        <p14:creationId xmlns:p14="http://schemas.microsoft.com/office/powerpoint/2010/main" val="33108341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283779"/>
            <a:ext cx="5339255" cy="4162098"/>
          </a:xfrm>
        </p:spPr>
        <p:txBody>
          <a:bodyPr/>
          <a:lstStyle/>
          <a:p>
            <a:r>
              <a:rPr lang="fr-FR" sz="3600"/>
              <a:t>Titre 1 </a:t>
            </a:r>
            <a:br>
              <a:rPr lang="fr-FR" sz="3600"/>
            </a:br>
            <a:r>
              <a:rPr lang="fr-FR" sz="3600"/>
              <a:t>Bilan des 20 ans d’application de la nomenclature Dintilhac pour les victimes par ricochet</a:t>
            </a:r>
            <a:br>
              <a:rPr lang="fr-FR" sz="3600"/>
            </a:br>
            <a:br>
              <a:rPr lang="fr-FR" sz="3600"/>
            </a:br>
            <a:endParaRPr lang="fr-FR" sz="3600" dirty="0"/>
          </a:p>
        </p:txBody>
      </p:sp>
      <p:sp>
        <p:nvSpPr>
          <p:cNvPr id="2" name="ZoneTexte 1">
            <a:extLst>
              <a:ext uri="{FF2B5EF4-FFF2-40B4-BE49-F238E27FC236}">
                <a16:creationId xmlns:a16="http://schemas.microsoft.com/office/drawing/2014/main" id="{7E6A6514-FD73-3EA6-81A2-C0A473E444D4}"/>
              </a:ext>
            </a:extLst>
          </p:cNvPr>
          <p:cNvSpPr txBox="1"/>
          <p:nvPr/>
        </p:nvSpPr>
        <p:spPr>
          <a:xfrm>
            <a:off x="756745" y="3615558"/>
            <a:ext cx="3579634" cy="584775"/>
          </a:xfrm>
          <a:prstGeom prst="rect">
            <a:avLst/>
          </a:prstGeom>
          <a:noFill/>
        </p:spPr>
        <p:txBody>
          <a:bodyPr wrap="none" rtlCol="0">
            <a:spAutoFit/>
          </a:bodyPr>
          <a:lstStyle/>
          <a:p>
            <a:r>
              <a:rPr lang="fr-FR" sz="3200" dirty="0">
                <a:solidFill>
                  <a:schemeClr val="bg1"/>
                </a:solidFill>
              </a:rPr>
              <a:t>Par Benoit MORNET</a:t>
            </a:r>
          </a:p>
        </p:txBody>
      </p:sp>
    </p:spTree>
    <p:extLst>
      <p:ext uri="{BB962C8B-B14F-4D97-AF65-F5344CB8AC3E}">
        <p14:creationId xmlns:p14="http://schemas.microsoft.com/office/powerpoint/2010/main" val="13935230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85346-8542-121A-4613-86BB6D3F1D3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E01A94-F065-9574-0BB1-40AEA63E864E}"/>
              </a:ext>
            </a:extLst>
          </p:cNvPr>
          <p:cNvSpPr>
            <a:spLocks noGrp="1"/>
          </p:cNvSpPr>
          <p:nvPr>
            <p:ph type="title"/>
          </p:nvPr>
        </p:nvSpPr>
        <p:spPr>
          <a:xfrm>
            <a:off x="838200" y="365126"/>
            <a:ext cx="9321800" cy="919221"/>
          </a:xfrm>
        </p:spPr>
        <p:txBody>
          <a:bodyPr/>
          <a:lstStyle/>
          <a:p>
            <a:r>
              <a:rPr lang="fr-FR" dirty="0"/>
              <a:t>2°) Préjudice professionnel temporaire</a:t>
            </a:r>
            <a:br>
              <a:rPr lang="fr-FR" dirty="0"/>
            </a:br>
            <a:endParaRPr lang="fr-FR" dirty="0"/>
          </a:p>
        </p:txBody>
      </p:sp>
      <p:sp>
        <p:nvSpPr>
          <p:cNvPr id="44" name="Content Placeholder 43">
            <a:extLst>
              <a:ext uri="{FF2B5EF4-FFF2-40B4-BE49-F238E27FC236}">
                <a16:creationId xmlns:a16="http://schemas.microsoft.com/office/drawing/2014/main" id="{AD4162D8-A47F-2F06-E5D6-C1A7857AA339}"/>
              </a:ext>
            </a:extLst>
          </p:cNvPr>
          <p:cNvSpPr>
            <a:spLocks noGrp="1"/>
          </p:cNvSpPr>
          <p:nvPr>
            <p:ph idx="1"/>
          </p:nvPr>
        </p:nvSpPr>
        <p:spPr>
          <a:xfrm>
            <a:off x="838200" y="1435100"/>
            <a:ext cx="10515600" cy="4737100"/>
          </a:xfrm>
        </p:spPr>
        <p:txBody>
          <a:bodyPr/>
          <a:lstStyle/>
          <a:p>
            <a:r>
              <a:rPr lang="fr-FR" dirty="0">
                <a:solidFill>
                  <a:schemeClr val="accent1"/>
                </a:solidFill>
              </a:rPr>
              <a:t>MM</a:t>
            </a:r>
          </a:p>
          <a:p>
            <a:r>
              <a:rPr lang="fr-FR" dirty="0"/>
              <a:t>Ce poste de préjudice vise à réparer les conséquences professionnelles subies par la victime par ricochet du fait de son accompagnement de la victime directe jusqu’à son décès ou la consolidation de son état de santé. Il s’agit d’indemniser la cessation , la diminution, la modification ou l’aménagement de son activité professionnelle pour être auprès de la victime directe.</a:t>
            </a:r>
          </a:p>
          <a:p>
            <a:r>
              <a:rPr lang="fr-FR" dirty="0"/>
              <a:t>La perte de gains temporaire qui en découle se calcule selon les critères habituels de ceux employés pour la victime directe. Il conviendra d’en déduire les sommes allouées au titre de l’aide à la personne temporaire à la victime directe rapportée au temps de travail de la victime par ricochet.</a:t>
            </a:r>
          </a:p>
          <a:p>
            <a:r>
              <a:rPr lang="fr-FR" dirty="0">
                <a:solidFill>
                  <a:schemeClr val="accent1"/>
                </a:solidFill>
              </a:rPr>
              <a:t>Ex : pour la victime par ricochet qui travaille 35h par semaine, le temps annuel de travail est de 1 607 heures soit 4h et 24 mn par jour. Dans ces conditions on ne pourra déduire de sa perte de salaire que les sommes allouées à la victime directe au titre de l’aide à la personne  dans la limite de 4h et 24 mn /jour en se basant sur une base charge salariales et patronales inclues</a:t>
            </a:r>
          </a:p>
          <a:p>
            <a:r>
              <a:rPr lang="fr-FR" dirty="0"/>
              <a:t>Au-delà de la perte de gains temporaire, ce poste indemnise toute autre répercussion professionnelle subie par la victime par ricochet telle que notamment l’impossibilité de se présenter à un nouvel emploi, refus de promotion, mutation…</a:t>
            </a:r>
          </a:p>
          <a:p>
            <a:endParaRPr lang="fr-FR" dirty="0"/>
          </a:p>
        </p:txBody>
      </p:sp>
      <p:sp>
        <p:nvSpPr>
          <p:cNvPr id="3" name="Espace réservé du pied de page 2">
            <a:extLst>
              <a:ext uri="{FF2B5EF4-FFF2-40B4-BE49-F238E27FC236}">
                <a16:creationId xmlns:a16="http://schemas.microsoft.com/office/drawing/2014/main" id="{AD7F8AD2-0449-7120-4BC7-0CA5C5C136A6}"/>
              </a:ext>
            </a:extLst>
          </p:cNvPr>
          <p:cNvSpPr>
            <a:spLocks noGrp="1"/>
          </p:cNvSpPr>
          <p:nvPr>
            <p:ph type="ftr" sz="quarter" idx="11"/>
          </p:nvPr>
        </p:nvSpPr>
        <p:spPr>
          <a:xfrm>
            <a:off x="3774017" y="6247648"/>
            <a:ext cx="4643966" cy="365125"/>
          </a:xfrm>
        </p:spPr>
        <p:txBody>
          <a:bodyPr/>
          <a:lstStyle/>
          <a:p>
            <a:endParaRPr lang="fr-FR"/>
          </a:p>
        </p:txBody>
      </p:sp>
      <p:sp>
        <p:nvSpPr>
          <p:cNvPr id="5" name="Slide Number Placeholder 4">
            <a:extLst>
              <a:ext uri="{FF2B5EF4-FFF2-40B4-BE49-F238E27FC236}">
                <a16:creationId xmlns:a16="http://schemas.microsoft.com/office/drawing/2014/main" id="{A876F271-8CA8-4949-D037-85F23A769DA8}"/>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20</a:t>
            </a:fld>
            <a:endParaRPr lang="fr-FR"/>
          </a:p>
        </p:txBody>
      </p:sp>
    </p:spTree>
    <p:extLst>
      <p:ext uri="{BB962C8B-B14F-4D97-AF65-F5344CB8AC3E}">
        <p14:creationId xmlns:p14="http://schemas.microsoft.com/office/powerpoint/2010/main" val="21455546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591AB4-C513-B3B8-E47D-6C23B893AAE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5337190-8A0A-081A-AFBB-50BC2F9270D9}"/>
              </a:ext>
            </a:extLst>
          </p:cNvPr>
          <p:cNvSpPr>
            <a:spLocks noGrp="1"/>
          </p:cNvSpPr>
          <p:nvPr>
            <p:ph type="title"/>
          </p:nvPr>
        </p:nvSpPr>
        <p:spPr>
          <a:xfrm>
            <a:off x="838200" y="365126"/>
            <a:ext cx="9321800" cy="919221"/>
          </a:xfrm>
        </p:spPr>
        <p:txBody>
          <a:bodyPr/>
          <a:lstStyle/>
          <a:p>
            <a:r>
              <a:rPr lang="fr-FR" dirty="0"/>
              <a:t>II. Préjudices après décès ou consolidation de la victime par ricochet</a:t>
            </a:r>
            <a:br>
              <a:rPr lang="fr-FR" dirty="0"/>
            </a:br>
            <a:endParaRPr lang="fr-FR" dirty="0"/>
          </a:p>
        </p:txBody>
      </p:sp>
      <p:sp>
        <p:nvSpPr>
          <p:cNvPr id="44" name="Content Placeholder 43">
            <a:extLst>
              <a:ext uri="{FF2B5EF4-FFF2-40B4-BE49-F238E27FC236}">
                <a16:creationId xmlns:a16="http://schemas.microsoft.com/office/drawing/2014/main" id="{5A316D1E-169E-3D4F-5FFE-E917C8786526}"/>
              </a:ext>
            </a:extLst>
          </p:cNvPr>
          <p:cNvSpPr>
            <a:spLocks noGrp="1"/>
          </p:cNvSpPr>
          <p:nvPr>
            <p:ph idx="1"/>
          </p:nvPr>
        </p:nvSpPr>
        <p:spPr>
          <a:xfrm>
            <a:off x="838200" y="1825625"/>
            <a:ext cx="10515600" cy="3978275"/>
          </a:xfrm>
        </p:spPr>
        <p:txBody>
          <a:bodyPr/>
          <a:lstStyle/>
          <a:p>
            <a:r>
              <a:rPr lang="fr-FR" dirty="0">
                <a:solidFill>
                  <a:schemeClr val="accent1"/>
                </a:solidFill>
              </a:rPr>
              <a:t>LCR</a:t>
            </a:r>
          </a:p>
          <a:p>
            <a:r>
              <a:rPr lang="fr-FR" dirty="0"/>
              <a:t>Il s’agit des postes de préjudice qui naissent ou perdurent après le décès ou la consolidation de la victime directe.</a:t>
            </a:r>
          </a:p>
        </p:txBody>
      </p:sp>
      <p:sp>
        <p:nvSpPr>
          <p:cNvPr id="3" name="Espace réservé du pied de page 2">
            <a:extLst>
              <a:ext uri="{FF2B5EF4-FFF2-40B4-BE49-F238E27FC236}">
                <a16:creationId xmlns:a16="http://schemas.microsoft.com/office/drawing/2014/main" id="{00C6D96F-431A-5CBC-9CEB-44F4CDE44E2D}"/>
              </a:ext>
            </a:extLst>
          </p:cNvPr>
          <p:cNvSpPr>
            <a:spLocks noGrp="1"/>
          </p:cNvSpPr>
          <p:nvPr>
            <p:ph type="ftr" sz="quarter" idx="11"/>
          </p:nvPr>
        </p:nvSpPr>
        <p:spPr>
          <a:xfrm>
            <a:off x="3774017" y="6247648"/>
            <a:ext cx="4643966" cy="365125"/>
          </a:xfrm>
        </p:spPr>
        <p:txBody>
          <a:bodyPr/>
          <a:lstStyle/>
          <a:p>
            <a:endParaRPr lang="fr-FR"/>
          </a:p>
        </p:txBody>
      </p:sp>
      <p:sp>
        <p:nvSpPr>
          <p:cNvPr id="5" name="Slide Number Placeholder 4">
            <a:extLst>
              <a:ext uri="{FF2B5EF4-FFF2-40B4-BE49-F238E27FC236}">
                <a16:creationId xmlns:a16="http://schemas.microsoft.com/office/drawing/2014/main" id="{3BEA2D09-1365-5652-3B03-6D346720609E}"/>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21</a:t>
            </a:fld>
            <a:endParaRPr lang="fr-FR"/>
          </a:p>
        </p:txBody>
      </p:sp>
    </p:spTree>
    <p:extLst>
      <p:ext uri="{BB962C8B-B14F-4D97-AF65-F5344CB8AC3E}">
        <p14:creationId xmlns:p14="http://schemas.microsoft.com/office/powerpoint/2010/main" val="9177338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400CD-4EFC-86EF-BA38-9A75F91945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40D6C4-75CF-2AA8-4F73-1AABEE141E59}"/>
              </a:ext>
            </a:extLst>
          </p:cNvPr>
          <p:cNvSpPr>
            <a:spLocks noGrp="1"/>
          </p:cNvSpPr>
          <p:nvPr>
            <p:ph type="ctrTitle"/>
          </p:nvPr>
        </p:nvSpPr>
        <p:spPr/>
        <p:txBody>
          <a:bodyPr/>
          <a:lstStyle/>
          <a:p>
            <a:r>
              <a:rPr lang="fr-FR" b="0" dirty="0">
                <a:latin typeface="Futura Std Book" panose="020B0502020204020303" pitchFamily="34" charset="0"/>
              </a:rPr>
              <a:t>A. Préjudices extra-patrimoniaux après décès ou consolidation</a:t>
            </a:r>
            <a:br>
              <a:rPr lang="fr-FR" b="0" dirty="0">
                <a:latin typeface="Futura Std Book" panose="020B0502020204020303" pitchFamily="34" charset="0"/>
              </a:rPr>
            </a:br>
            <a:endParaRPr lang="fr-FR" b="0" dirty="0">
              <a:latin typeface="Futura Std Book" panose="020B0502020204020303" pitchFamily="34" charset="0"/>
            </a:endParaRPr>
          </a:p>
        </p:txBody>
      </p:sp>
      <p:sp>
        <p:nvSpPr>
          <p:cNvPr id="5" name="Slide Number Placeholder 4">
            <a:extLst>
              <a:ext uri="{FF2B5EF4-FFF2-40B4-BE49-F238E27FC236}">
                <a16:creationId xmlns:a16="http://schemas.microsoft.com/office/drawing/2014/main" id="{45711F7D-D16D-9DE8-DE4E-165A0A6CAE93}"/>
              </a:ext>
            </a:extLst>
          </p:cNvPr>
          <p:cNvSpPr>
            <a:spLocks noGrp="1"/>
          </p:cNvSpPr>
          <p:nvPr>
            <p:ph type="sldNum" sz="quarter" idx="4294967295"/>
            <p:custDataLst>
              <p:tags r:id="rId1"/>
            </p:custDataLst>
          </p:nvPr>
        </p:nvSpPr>
        <p:spPr>
          <a:xfrm>
            <a:off x="11506200" y="85725"/>
            <a:ext cx="685800" cy="365125"/>
          </a:xfrm>
        </p:spPr>
        <p:txBody>
          <a:bodyPr/>
          <a:lstStyle/>
          <a:p>
            <a:fld id="{8415421A-8635-4166-92D2-5F6D44CB9F91}" type="slidenum">
              <a:rPr lang="fr-FR" smtClean="0"/>
              <a:pPr/>
              <a:t>22</a:t>
            </a:fld>
            <a:endParaRPr lang="fr-FR"/>
          </a:p>
        </p:txBody>
      </p:sp>
      <p:sp>
        <p:nvSpPr>
          <p:cNvPr id="8" name="Content Placeholder 7">
            <a:extLst>
              <a:ext uri="{FF2B5EF4-FFF2-40B4-BE49-F238E27FC236}">
                <a16:creationId xmlns:a16="http://schemas.microsoft.com/office/drawing/2014/main" id="{04A6BDAA-6B94-A8F4-6382-986689B1B6AB}"/>
              </a:ext>
            </a:extLst>
          </p:cNvPr>
          <p:cNvSpPr>
            <a:spLocks noGrp="1"/>
          </p:cNvSpPr>
          <p:nvPr>
            <p:ph idx="4294967295"/>
          </p:nvPr>
        </p:nvSpPr>
        <p:spPr>
          <a:xfrm>
            <a:off x="756745" y="3244850"/>
            <a:ext cx="10515600" cy="463269"/>
          </a:xfrm>
        </p:spPr>
        <p:txBody>
          <a:bodyPr/>
          <a:lstStyle/>
          <a:p>
            <a:r>
              <a:rPr lang="fr-FR" dirty="0">
                <a:solidFill>
                  <a:schemeClr val="accent1"/>
                </a:solidFill>
              </a:rPr>
              <a:t>LCR</a:t>
            </a:r>
          </a:p>
        </p:txBody>
      </p:sp>
    </p:spTree>
    <p:extLst>
      <p:ext uri="{BB962C8B-B14F-4D97-AF65-F5344CB8AC3E}">
        <p14:creationId xmlns:p14="http://schemas.microsoft.com/office/powerpoint/2010/main" val="15074377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2652A4-0AD9-34B7-4467-437A5A1678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1BAE84-3F69-B4A5-6796-0AD0FCBE2EFF}"/>
              </a:ext>
            </a:extLst>
          </p:cNvPr>
          <p:cNvSpPr>
            <a:spLocks noGrp="1"/>
          </p:cNvSpPr>
          <p:nvPr>
            <p:ph type="title"/>
          </p:nvPr>
        </p:nvSpPr>
        <p:spPr>
          <a:xfrm>
            <a:off x="838200" y="365126"/>
            <a:ext cx="9321800" cy="919221"/>
          </a:xfrm>
        </p:spPr>
        <p:txBody>
          <a:bodyPr/>
          <a:lstStyle/>
          <a:p>
            <a:r>
              <a:rPr lang="fr-FR" dirty="0"/>
              <a:t>1°) Préjudice d’affection</a:t>
            </a:r>
            <a:br>
              <a:rPr lang="fr-FR" dirty="0"/>
            </a:br>
            <a:endParaRPr lang="fr-FR" dirty="0"/>
          </a:p>
        </p:txBody>
      </p:sp>
      <p:sp>
        <p:nvSpPr>
          <p:cNvPr id="44" name="Content Placeholder 43">
            <a:extLst>
              <a:ext uri="{FF2B5EF4-FFF2-40B4-BE49-F238E27FC236}">
                <a16:creationId xmlns:a16="http://schemas.microsoft.com/office/drawing/2014/main" id="{40BBD8DD-F235-088D-E9CC-1B3D19710F12}"/>
              </a:ext>
            </a:extLst>
          </p:cNvPr>
          <p:cNvSpPr>
            <a:spLocks noGrp="1"/>
          </p:cNvSpPr>
          <p:nvPr>
            <p:ph idx="1"/>
          </p:nvPr>
        </p:nvSpPr>
        <p:spPr>
          <a:xfrm>
            <a:off x="838200" y="1825625"/>
            <a:ext cx="10515600" cy="3978275"/>
          </a:xfrm>
        </p:spPr>
        <p:txBody>
          <a:bodyPr/>
          <a:lstStyle/>
          <a:p>
            <a:r>
              <a:rPr lang="fr-FR" dirty="0">
                <a:solidFill>
                  <a:schemeClr val="accent1"/>
                </a:solidFill>
              </a:rPr>
              <a:t>LCR</a:t>
            </a:r>
          </a:p>
          <a:p>
            <a:r>
              <a:rPr lang="fr-FR" dirty="0"/>
              <a:t>Le préjudice d’affection correspond à la souffrance morale et à l‘altération du lien interpersonnel affectif éprouvées par les proches d’une victime directe, du fait de son décès ou de ses séquelles. Il se manifeste par la douleur éprouvée devant la perte de la victime directe ou par le vécu du proche confronté à la douleur, la déchéance ou la souffrance de la victime directe, et s’apprécie en fonction des critères non limitatifs suivants : </a:t>
            </a:r>
          </a:p>
          <a:p>
            <a:pPr lvl="1"/>
            <a:r>
              <a:rPr lang="fr-FR" dirty="0"/>
              <a:t>Nature du lien : présomption en cas de lien conjugal (pacs, concubinage, mariage), parental, fraternel et filial, ou preuve par tout moyen du lien affectif.</a:t>
            </a:r>
          </a:p>
          <a:p>
            <a:pPr lvl="1"/>
            <a:r>
              <a:rPr lang="fr-FR" dirty="0"/>
              <a:t>Intensité, durée et qualité de la relation : fréquence et régularité des contacts, partage d’activités, implication dans la vie quotidienne et les soins.</a:t>
            </a:r>
          </a:p>
          <a:p>
            <a:pPr lvl="1"/>
            <a:r>
              <a:rPr lang="fr-FR" dirty="0"/>
              <a:t>Proximité géographique : proximité renforçant les interactions</a:t>
            </a:r>
          </a:p>
          <a:p>
            <a:pPr lvl="1"/>
            <a:r>
              <a:rPr lang="fr-FR" dirty="0"/>
              <a:t>Âge de la victime directe et de la victime indirecte </a:t>
            </a:r>
          </a:p>
          <a:p>
            <a:endParaRPr lang="fr-FR" dirty="0"/>
          </a:p>
        </p:txBody>
      </p:sp>
      <p:sp>
        <p:nvSpPr>
          <p:cNvPr id="3" name="Espace réservé du pied de page 2">
            <a:extLst>
              <a:ext uri="{FF2B5EF4-FFF2-40B4-BE49-F238E27FC236}">
                <a16:creationId xmlns:a16="http://schemas.microsoft.com/office/drawing/2014/main" id="{051B5BA0-C5FB-4848-2354-C31EB496C7D5}"/>
              </a:ext>
            </a:extLst>
          </p:cNvPr>
          <p:cNvSpPr>
            <a:spLocks noGrp="1"/>
          </p:cNvSpPr>
          <p:nvPr>
            <p:ph type="ftr" sz="quarter" idx="11"/>
          </p:nvPr>
        </p:nvSpPr>
        <p:spPr>
          <a:xfrm>
            <a:off x="3774017" y="6247648"/>
            <a:ext cx="4643966" cy="365125"/>
          </a:xfrm>
        </p:spPr>
        <p:txBody>
          <a:bodyPr/>
          <a:lstStyle/>
          <a:p>
            <a:endParaRPr lang="fr-FR"/>
          </a:p>
        </p:txBody>
      </p:sp>
      <p:sp>
        <p:nvSpPr>
          <p:cNvPr id="5" name="Slide Number Placeholder 4">
            <a:extLst>
              <a:ext uri="{FF2B5EF4-FFF2-40B4-BE49-F238E27FC236}">
                <a16:creationId xmlns:a16="http://schemas.microsoft.com/office/drawing/2014/main" id="{03BCF7A6-A76F-13D6-A23D-EF665A51F50B}"/>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23</a:t>
            </a:fld>
            <a:endParaRPr lang="fr-FR"/>
          </a:p>
        </p:txBody>
      </p:sp>
    </p:spTree>
    <p:extLst>
      <p:ext uri="{BB962C8B-B14F-4D97-AF65-F5344CB8AC3E}">
        <p14:creationId xmlns:p14="http://schemas.microsoft.com/office/powerpoint/2010/main" val="14626876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8199DC-491E-118F-A941-9A850CE06B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23FAD9-8EDC-555B-FF3E-9CEFEA5637F5}"/>
              </a:ext>
            </a:extLst>
          </p:cNvPr>
          <p:cNvSpPr>
            <a:spLocks noGrp="1"/>
          </p:cNvSpPr>
          <p:nvPr>
            <p:ph type="title"/>
          </p:nvPr>
        </p:nvSpPr>
        <p:spPr>
          <a:xfrm>
            <a:off x="838200" y="365126"/>
            <a:ext cx="9321800" cy="919221"/>
          </a:xfrm>
        </p:spPr>
        <p:txBody>
          <a:bodyPr/>
          <a:lstStyle/>
          <a:p>
            <a:r>
              <a:rPr lang="fr-FR" dirty="0"/>
              <a:t>2°) Troubles dans les conditions d’existences</a:t>
            </a:r>
            <a:br>
              <a:rPr lang="fr-FR" dirty="0"/>
            </a:br>
            <a:endParaRPr lang="fr-FR" dirty="0"/>
          </a:p>
        </p:txBody>
      </p:sp>
      <p:sp>
        <p:nvSpPr>
          <p:cNvPr id="44" name="Content Placeholder 43">
            <a:extLst>
              <a:ext uri="{FF2B5EF4-FFF2-40B4-BE49-F238E27FC236}">
                <a16:creationId xmlns:a16="http://schemas.microsoft.com/office/drawing/2014/main" id="{FDEAF2B1-A575-9067-2838-24B8FC044765}"/>
              </a:ext>
            </a:extLst>
          </p:cNvPr>
          <p:cNvSpPr>
            <a:spLocks noGrp="1"/>
          </p:cNvSpPr>
          <p:nvPr>
            <p:ph idx="1"/>
          </p:nvPr>
        </p:nvSpPr>
        <p:spPr>
          <a:xfrm>
            <a:off x="838200" y="1439862"/>
            <a:ext cx="10515600" cy="3978275"/>
          </a:xfrm>
        </p:spPr>
        <p:txBody>
          <a:bodyPr/>
          <a:lstStyle/>
          <a:p>
            <a:r>
              <a:rPr lang="fr-FR" dirty="0">
                <a:solidFill>
                  <a:schemeClr val="accent1"/>
                </a:solidFill>
              </a:rPr>
              <a:t>LCR</a:t>
            </a:r>
          </a:p>
          <a:p>
            <a:r>
              <a:rPr lang="fr-FR" dirty="0"/>
              <a:t>Ce poste de préjudice indemnise les bouleversements que la disparition ou les séquelles définitives de la victime directe entraînent sur le mode de vie de ses proches au quotidien.</a:t>
            </a:r>
          </a:p>
          <a:p>
            <a:r>
              <a:rPr lang="fr-FR" dirty="0"/>
              <a:t>Ce préjudice extrapatrimonial traduit les troubles dans les conditions d’existence d’un proche qui partage habituellement une communauté de vie avec la victime directe avant et/ou après le fait générateur. </a:t>
            </a:r>
          </a:p>
          <a:p>
            <a:r>
              <a:rPr lang="fr-FR" dirty="0"/>
              <a:t>La communauté de vie affective et effective sera retenue lorsque la victime par ricochet réside avec la victime directe ou lui rend de fréquentes visites (Cass., 2e civ., 10 octobre 2024, n°23-11.736). </a:t>
            </a:r>
          </a:p>
          <a:p>
            <a:r>
              <a:rPr lang="fr-FR" dirty="0"/>
              <a:t>La communauté de vie ne se limite donc pas au seul lien familial.</a:t>
            </a:r>
          </a:p>
          <a:p>
            <a:r>
              <a:rPr lang="fr-FR" dirty="0"/>
              <a:t>L’évaluation de ce poste de préjudice doit s’opérer in </a:t>
            </a:r>
            <a:r>
              <a:rPr lang="fr-FR" dirty="0" err="1"/>
              <a:t>concreto</a:t>
            </a:r>
            <a:r>
              <a:rPr lang="fr-FR" dirty="0"/>
              <a:t> et prend en compte, notamment, les atteintes à la vie intime et sexuelle, à la vie familiale, aux activités d’agrément et à la socialisation subies par la victime par ricochet du seul fait de la disparition ou des séquelles définitives de la victime directe.</a:t>
            </a:r>
          </a:p>
          <a:p>
            <a:r>
              <a:rPr lang="fr-FR" b="1" dirty="0"/>
              <a:t>L’atteinte à la vie intime et sexuelle </a:t>
            </a:r>
            <a:r>
              <a:rPr lang="fr-FR" dirty="0"/>
              <a:t>est caractérisée lorsque l’intimité du couple est perturbée ou annihilée par le handicap ou le décès de la victime directe. </a:t>
            </a:r>
          </a:p>
        </p:txBody>
      </p:sp>
      <p:sp>
        <p:nvSpPr>
          <p:cNvPr id="3" name="Espace réservé du pied de page 2">
            <a:extLst>
              <a:ext uri="{FF2B5EF4-FFF2-40B4-BE49-F238E27FC236}">
                <a16:creationId xmlns:a16="http://schemas.microsoft.com/office/drawing/2014/main" id="{56A8D978-FA8E-293E-B6F3-879E71A67E26}"/>
              </a:ext>
            </a:extLst>
          </p:cNvPr>
          <p:cNvSpPr>
            <a:spLocks noGrp="1"/>
          </p:cNvSpPr>
          <p:nvPr>
            <p:ph type="ftr" sz="quarter" idx="11"/>
          </p:nvPr>
        </p:nvSpPr>
        <p:spPr>
          <a:xfrm>
            <a:off x="3774017" y="6247648"/>
            <a:ext cx="4643966" cy="365125"/>
          </a:xfrm>
        </p:spPr>
        <p:txBody>
          <a:bodyPr/>
          <a:lstStyle/>
          <a:p>
            <a:endParaRPr lang="fr-FR"/>
          </a:p>
        </p:txBody>
      </p:sp>
      <p:sp>
        <p:nvSpPr>
          <p:cNvPr id="5" name="Slide Number Placeholder 4">
            <a:extLst>
              <a:ext uri="{FF2B5EF4-FFF2-40B4-BE49-F238E27FC236}">
                <a16:creationId xmlns:a16="http://schemas.microsoft.com/office/drawing/2014/main" id="{D6568839-DA19-7DDC-F429-3DC759BEC247}"/>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24</a:t>
            </a:fld>
            <a:endParaRPr lang="fr-FR"/>
          </a:p>
        </p:txBody>
      </p:sp>
    </p:spTree>
    <p:extLst>
      <p:ext uri="{BB962C8B-B14F-4D97-AF65-F5344CB8AC3E}">
        <p14:creationId xmlns:p14="http://schemas.microsoft.com/office/powerpoint/2010/main" val="41298244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61DD09-AF96-D511-BB2C-D164E84200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619C66-2C3A-F400-6BD7-E0F8463C2463}"/>
              </a:ext>
            </a:extLst>
          </p:cNvPr>
          <p:cNvSpPr>
            <a:spLocks noGrp="1"/>
          </p:cNvSpPr>
          <p:nvPr>
            <p:ph type="title"/>
          </p:nvPr>
        </p:nvSpPr>
        <p:spPr>
          <a:xfrm>
            <a:off x="838200" y="365126"/>
            <a:ext cx="9321800" cy="919221"/>
          </a:xfrm>
        </p:spPr>
        <p:txBody>
          <a:bodyPr/>
          <a:lstStyle/>
          <a:p>
            <a:r>
              <a:rPr lang="fr-FR" dirty="0"/>
              <a:t>2°) Troubles dans les conditions d’existences (suite)</a:t>
            </a:r>
            <a:br>
              <a:rPr lang="fr-FR" dirty="0"/>
            </a:br>
            <a:endParaRPr lang="fr-FR" dirty="0"/>
          </a:p>
        </p:txBody>
      </p:sp>
      <p:sp>
        <p:nvSpPr>
          <p:cNvPr id="44" name="Content Placeholder 43">
            <a:extLst>
              <a:ext uri="{FF2B5EF4-FFF2-40B4-BE49-F238E27FC236}">
                <a16:creationId xmlns:a16="http://schemas.microsoft.com/office/drawing/2014/main" id="{6CA0580A-01BB-632A-F2B0-FE7F065E1179}"/>
              </a:ext>
            </a:extLst>
          </p:cNvPr>
          <p:cNvSpPr>
            <a:spLocks noGrp="1"/>
          </p:cNvSpPr>
          <p:nvPr>
            <p:ph idx="1"/>
          </p:nvPr>
        </p:nvSpPr>
        <p:spPr>
          <a:xfrm>
            <a:off x="838200" y="1554956"/>
            <a:ext cx="10515600" cy="4422775"/>
          </a:xfrm>
        </p:spPr>
        <p:txBody>
          <a:bodyPr/>
          <a:lstStyle/>
          <a:p>
            <a:r>
              <a:rPr lang="fr-FR" dirty="0">
                <a:solidFill>
                  <a:schemeClr val="accent1"/>
                </a:solidFill>
              </a:rPr>
              <a:t>LCR</a:t>
            </a:r>
          </a:p>
          <a:p>
            <a:r>
              <a:rPr lang="fr-FR" b="1" dirty="0"/>
              <a:t>L’atteinte à la vie familiale </a:t>
            </a:r>
            <a:r>
              <a:rPr lang="fr-FR" dirty="0"/>
              <a:t>est caractérisée par la perte d’espoir, de chance ou de possibilité pour la victime par ricochet de réaliser ou de poursuivre un projet de vie familiale tel qu’envisagé avant le fait générateur en raison du handicap ou du décès de la victime directe (par exemple : fonder une famille, concevoir ou élever ensemble un ou des enfant(s), maintenir une dynamique familiale…).</a:t>
            </a:r>
          </a:p>
          <a:p>
            <a:r>
              <a:rPr lang="fr-FR" b="1" dirty="0"/>
              <a:t>L’atteinte aux activités d’agrément </a:t>
            </a:r>
            <a:r>
              <a:rPr lang="fr-FR" dirty="0"/>
              <a:t>est caractérisée lorsque les activités sportives ou de loisirs antérieurement partagées avec la victime directe (comprenant les voyages) sont perturbées ou annihilées par le handicap ou le décès de la victime directe.</a:t>
            </a:r>
          </a:p>
          <a:p>
            <a:r>
              <a:rPr lang="fr-FR" b="1" dirty="0"/>
              <a:t>L’atteinte à la socialisation </a:t>
            </a:r>
            <a:r>
              <a:rPr lang="fr-FR" dirty="0"/>
              <a:t>est caractérisée par l’isolement social que peut générer le handicap ou le décès de la victime directe (par exemple : perte d’un cercle familial, perte d’un cercle amical…).</a:t>
            </a:r>
          </a:p>
          <a:p>
            <a:r>
              <a:rPr lang="fr-FR" dirty="0"/>
              <a:t>L’indemnisation prend en compte la durée et l’intensité des atteintes aux conditions de vie de la victime par ricochet en se référant, notamment, à la disparition ou aux atteintes fonctionnelles de la victime directe.</a:t>
            </a:r>
          </a:p>
          <a:p>
            <a:r>
              <a:rPr lang="fr-FR" dirty="0"/>
              <a:t>En fonction des conditions d’espèce, l’une des composantes des troubles dans les conditions d’existence peut être autonomisée. </a:t>
            </a:r>
          </a:p>
          <a:p>
            <a:endParaRPr lang="fr-FR" dirty="0"/>
          </a:p>
        </p:txBody>
      </p:sp>
      <p:sp>
        <p:nvSpPr>
          <p:cNvPr id="3" name="Espace réservé du pied de page 2">
            <a:extLst>
              <a:ext uri="{FF2B5EF4-FFF2-40B4-BE49-F238E27FC236}">
                <a16:creationId xmlns:a16="http://schemas.microsoft.com/office/drawing/2014/main" id="{02DE0C34-1242-FB58-F22B-106AE4B43F02}"/>
              </a:ext>
            </a:extLst>
          </p:cNvPr>
          <p:cNvSpPr>
            <a:spLocks noGrp="1"/>
          </p:cNvSpPr>
          <p:nvPr>
            <p:ph type="ftr" sz="quarter" idx="11"/>
          </p:nvPr>
        </p:nvSpPr>
        <p:spPr>
          <a:xfrm>
            <a:off x="3774017" y="6247648"/>
            <a:ext cx="4643966" cy="365125"/>
          </a:xfrm>
        </p:spPr>
        <p:txBody>
          <a:bodyPr/>
          <a:lstStyle/>
          <a:p>
            <a:endParaRPr lang="fr-FR"/>
          </a:p>
        </p:txBody>
      </p:sp>
      <p:sp>
        <p:nvSpPr>
          <p:cNvPr id="5" name="Slide Number Placeholder 4">
            <a:extLst>
              <a:ext uri="{FF2B5EF4-FFF2-40B4-BE49-F238E27FC236}">
                <a16:creationId xmlns:a16="http://schemas.microsoft.com/office/drawing/2014/main" id="{BC8C8A24-CC0D-3328-D838-BCBBF3991435}"/>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25</a:t>
            </a:fld>
            <a:endParaRPr lang="fr-FR"/>
          </a:p>
        </p:txBody>
      </p:sp>
    </p:spTree>
    <p:extLst>
      <p:ext uri="{BB962C8B-B14F-4D97-AF65-F5344CB8AC3E}">
        <p14:creationId xmlns:p14="http://schemas.microsoft.com/office/powerpoint/2010/main" val="34290067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C0EF4F-80D2-71E0-163F-27A0E7C528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18B4D4-7F7B-80E0-BED4-AE9FAB0B71DA}"/>
              </a:ext>
            </a:extLst>
          </p:cNvPr>
          <p:cNvSpPr>
            <a:spLocks noGrp="1"/>
          </p:cNvSpPr>
          <p:nvPr>
            <p:ph type="ctrTitle"/>
          </p:nvPr>
        </p:nvSpPr>
        <p:spPr/>
        <p:txBody>
          <a:bodyPr/>
          <a:lstStyle/>
          <a:p>
            <a:r>
              <a:rPr lang="fr-FR" b="0" dirty="0">
                <a:latin typeface="Futura Std Book" panose="020B0502020204020303" pitchFamily="34" charset="0"/>
              </a:rPr>
              <a:t>B. Préjudices patrimoniaux après décès ou consolidation</a:t>
            </a:r>
            <a:br>
              <a:rPr lang="fr-FR" dirty="0"/>
            </a:br>
            <a:endParaRPr lang="fr-FR" dirty="0"/>
          </a:p>
        </p:txBody>
      </p:sp>
      <p:sp>
        <p:nvSpPr>
          <p:cNvPr id="5" name="Slide Number Placeholder 4">
            <a:extLst>
              <a:ext uri="{FF2B5EF4-FFF2-40B4-BE49-F238E27FC236}">
                <a16:creationId xmlns:a16="http://schemas.microsoft.com/office/drawing/2014/main" id="{29186D31-6C02-CCE3-DE21-A86D8369D832}"/>
              </a:ext>
            </a:extLst>
          </p:cNvPr>
          <p:cNvSpPr>
            <a:spLocks noGrp="1"/>
          </p:cNvSpPr>
          <p:nvPr>
            <p:ph type="sldNum" sz="quarter" idx="4294967295"/>
            <p:custDataLst>
              <p:tags r:id="rId1"/>
            </p:custDataLst>
          </p:nvPr>
        </p:nvSpPr>
        <p:spPr>
          <a:xfrm>
            <a:off x="11506200" y="85725"/>
            <a:ext cx="685800" cy="365125"/>
          </a:xfrm>
        </p:spPr>
        <p:txBody>
          <a:bodyPr/>
          <a:lstStyle/>
          <a:p>
            <a:fld id="{8415421A-8635-4166-92D2-5F6D44CB9F91}" type="slidenum">
              <a:rPr lang="fr-FR" smtClean="0"/>
              <a:pPr/>
              <a:t>26</a:t>
            </a:fld>
            <a:endParaRPr lang="fr-FR"/>
          </a:p>
        </p:txBody>
      </p:sp>
      <p:sp>
        <p:nvSpPr>
          <p:cNvPr id="8" name="Content Placeholder 7">
            <a:extLst>
              <a:ext uri="{FF2B5EF4-FFF2-40B4-BE49-F238E27FC236}">
                <a16:creationId xmlns:a16="http://schemas.microsoft.com/office/drawing/2014/main" id="{3B284E55-2264-D7D9-E172-1BC12A5D7297}"/>
              </a:ext>
            </a:extLst>
          </p:cNvPr>
          <p:cNvSpPr>
            <a:spLocks noGrp="1"/>
          </p:cNvSpPr>
          <p:nvPr>
            <p:ph idx="4294967295"/>
          </p:nvPr>
        </p:nvSpPr>
        <p:spPr>
          <a:xfrm>
            <a:off x="680545" y="3263900"/>
            <a:ext cx="1066800" cy="536575"/>
          </a:xfrm>
        </p:spPr>
        <p:txBody>
          <a:bodyPr/>
          <a:lstStyle/>
          <a:p>
            <a:r>
              <a:rPr lang="fr-FR" dirty="0">
                <a:solidFill>
                  <a:schemeClr val="accent1"/>
                </a:solidFill>
              </a:rPr>
              <a:t>MM</a:t>
            </a:r>
          </a:p>
        </p:txBody>
      </p:sp>
    </p:spTree>
    <p:extLst>
      <p:ext uri="{BB962C8B-B14F-4D97-AF65-F5344CB8AC3E}">
        <p14:creationId xmlns:p14="http://schemas.microsoft.com/office/powerpoint/2010/main" val="21051803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20AB76-9DF3-75FD-0A48-5655ECCCF6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6E3824-F175-59EE-9A35-B98415CB8B55}"/>
              </a:ext>
            </a:extLst>
          </p:cNvPr>
          <p:cNvSpPr>
            <a:spLocks noGrp="1"/>
          </p:cNvSpPr>
          <p:nvPr>
            <p:ph type="title"/>
          </p:nvPr>
        </p:nvSpPr>
        <p:spPr>
          <a:xfrm>
            <a:off x="838200" y="365126"/>
            <a:ext cx="9321800" cy="919221"/>
          </a:xfrm>
        </p:spPr>
        <p:txBody>
          <a:bodyPr/>
          <a:lstStyle/>
          <a:p>
            <a:r>
              <a:rPr lang="fr-FR" dirty="0"/>
              <a:t>1°) Frais et besoins divers après décès ou consolidation</a:t>
            </a:r>
            <a:br>
              <a:rPr lang="fr-FR" dirty="0"/>
            </a:br>
            <a:endParaRPr lang="fr-FR" dirty="0"/>
          </a:p>
        </p:txBody>
      </p:sp>
      <p:sp>
        <p:nvSpPr>
          <p:cNvPr id="44" name="Content Placeholder 43">
            <a:extLst>
              <a:ext uri="{FF2B5EF4-FFF2-40B4-BE49-F238E27FC236}">
                <a16:creationId xmlns:a16="http://schemas.microsoft.com/office/drawing/2014/main" id="{91F8FF2E-CBDF-3785-A835-01F343C66C74}"/>
              </a:ext>
            </a:extLst>
          </p:cNvPr>
          <p:cNvSpPr>
            <a:spLocks noGrp="1"/>
          </p:cNvSpPr>
          <p:nvPr>
            <p:ph idx="1"/>
          </p:nvPr>
        </p:nvSpPr>
        <p:spPr>
          <a:xfrm>
            <a:off x="838200" y="1825625"/>
            <a:ext cx="10515600" cy="3978275"/>
          </a:xfrm>
        </p:spPr>
        <p:txBody>
          <a:bodyPr/>
          <a:lstStyle/>
          <a:p>
            <a:r>
              <a:rPr lang="fr-FR" dirty="0">
                <a:solidFill>
                  <a:schemeClr val="accent1"/>
                </a:solidFill>
              </a:rPr>
              <a:t>MM</a:t>
            </a:r>
          </a:p>
          <a:p>
            <a:r>
              <a:rPr lang="fr-FR" dirty="0"/>
              <a:t>Ce poste de préjudice vise à indemniser les frais et besoins divers des proches de la victime directe après la consolidation, ou suite au décès. </a:t>
            </a:r>
          </a:p>
          <a:p>
            <a:r>
              <a:rPr lang="fr-FR" dirty="0"/>
              <a:t>Ils comprennent notamment :</a:t>
            </a:r>
          </a:p>
          <a:p>
            <a:pPr lvl="1"/>
            <a:r>
              <a:rPr lang="fr-FR" dirty="0"/>
              <a:t>Les frais d’obsèques et funéraires :  les frais de sépulture, la cérémonie et le transport du défunt adaptés aux pratiques culturelles et religieuses de la victime et de ses proches ;</a:t>
            </a:r>
          </a:p>
          <a:p>
            <a:pPr lvl="1"/>
            <a:r>
              <a:rPr lang="fr-FR" dirty="0"/>
              <a:t>Les frais de déplacement, d’hébergement et de restauration des victimes par ricochet à l’occasion des obsèques ou en cas de survie de la victime directe les déplacements de la victime par ricochet vers les établissements de soins ou de rééducation, l’hébergement et repas lorsque la distance ou la durée des visites l’exige ;</a:t>
            </a:r>
          </a:p>
          <a:p>
            <a:pPr lvl="1"/>
            <a:r>
              <a:rPr lang="fr-FR" dirty="0"/>
              <a:t>Les frais d’aménagement et d’adaptation du logement ou du véhicule des proches pour accueillir la victime survivante à l’occasion de visites ou de séjours.</a:t>
            </a:r>
          </a:p>
          <a:p>
            <a:endParaRPr lang="fr-FR" dirty="0"/>
          </a:p>
        </p:txBody>
      </p:sp>
      <p:sp>
        <p:nvSpPr>
          <p:cNvPr id="3" name="Espace réservé du pied de page 2">
            <a:extLst>
              <a:ext uri="{FF2B5EF4-FFF2-40B4-BE49-F238E27FC236}">
                <a16:creationId xmlns:a16="http://schemas.microsoft.com/office/drawing/2014/main" id="{A6992A95-DD47-508F-4908-04BA5A9A7E44}"/>
              </a:ext>
            </a:extLst>
          </p:cNvPr>
          <p:cNvSpPr>
            <a:spLocks noGrp="1"/>
          </p:cNvSpPr>
          <p:nvPr>
            <p:ph type="ftr" sz="quarter" idx="11"/>
          </p:nvPr>
        </p:nvSpPr>
        <p:spPr>
          <a:xfrm>
            <a:off x="3774017" y="6247648"/>
            <a:ext cx="4643966" cy="365125"/>
          </a:xfrm>
        </p:spPr>
        <p:txBody>
          <a:bodyPr/>
          <a:lstStyle/>
          <a:p>
            <a:endParaRPr lang="fr-FR"/>
          </a:p>
        </p:txBody>
      </p:sp>
      <p:sp>
        <p:nvSpPr>
          <p:cNvPr id="5" name="Slide Number Placeholder 4">
            <a:extLst>
              <a:ext uri="{FF2B5EF4-FFF2-40B4-BE49-F238E27FC236}">
                <a16:creationId xmlns:a16="http://schemas.microsoft.com/office/drawing/2014/main" id="{4BCE20E7-414B-8622-546D-8DA18AC4E6C5}"/>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27</a:t>
            </a:fld>
            <a:endParaRPr lang="fr-FR"/>
          </a:p>
        </p:txBody>
      </p:sp>
    </p:spTree>
    <p:extLst>
      <p:ext uri="{BB962C8B-B14F-4D97-AF65-F5344CB8AC3E}">
        <p14:creationId xmlns:p14="http://schemas.microsoft.com/office/powerpoint/2010/main" val="9335988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9C452D-F010-A31E-3F5F-824694A51A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274DB6-EDA1-4C55-DDC5-EB7BBA53F05F}"/>
              </a:ext>
            </a:extLst>
          </p:cNvPr>
          <p:cNvSpPr>
            <a:spLocks noGrp="1"/>
          </p:cNvSpPr>
          <p:nvPr>
            <p:ph type="title"/>
          </p:nvPr>
        </p:nvSpPr>
        <p:spPr>
          <a:xfrm>
            <a:off x="838200" y="365126"/>
            <a:ext cx="9321800" cy="919221"/>
          </a:xfrm>
        </p:spPr>
        <p:txBody>
          <a:bodyPr/>
          <a:lstStyle/>
          <a:p>
            <a:r>
              <a:rPr lang="fr-FR" dirty="0"/>
              <a:t>2°) Préjudice professionnel après la consolidation en cas de survie de la victime directe</a:t>
            </a:r>
          </a:p>
        </p:txBody>
      </p:sp>
      <p:sp>
        <p:nvSpPr>
          <p:cNvPr id="44" name="Content Placeholder 43">
            <a:extLst>
              <a:ext uri="{FF2B5EF4-FFF2-40B4-BE49-F238E27FC236}">
                <a16:creationId xmlns:a16="http://schemas.microsoft.com/office/drawing/2014/main" id="{8AC266FF-C22F-B952-AEBC-D27A3C383A73}"/>
              </a:ext>
            </a:extLst>
          </p:cNvPr>
          <p:cNvSpPr>
            <a:spLocks noGrp="1"/>
          </p:cNvSpPr>
          <p:nvPr>
            <p:ph idx="1"/>
          </p:nvPr>
        </p:nvSpPr>
        <p:spPr>
          <a:xfrm>
            <a:off x="838200" y="1284288"/>
            <a:ext cx="10515600" cy="4821237"/>
          </a:xfrm>
        </p:spPr>
        <p:txBody>
          <a:bodyPr/>
          <a:lstStyle/>
          <a:p>
            <a:r>
              <a:rPr lang="fr-FR" dirty="0">
                <a:solidFill>
                  <a:schemeClr val="accent1"/>
                </a:solidFill>
              </a:rPr>
              <a:t>MM</a:t>
            </a:r>
            <a:r>
              <a:rPr lang="fr-FR" dirty="0"/>
              <a:t> </a:t>
            </a:r>
          </a:p>
          <a:p>
            <a:r>
              <a:rPr lang="fr-FR" dirty="0"/>
              <a:t>Ce poste de préjudice vise à réparer les conséquences professionnelles subies par la victime par ricochet du fait de son accompagnement de la victime directe à compter de la consolidation de son état de santé. </a:t>
            </a:r>
          </a:p>
          <a:p>
            <a:r>
              <a:rPr lang="fr-FR" dirty="0"/>
              <a:t>Il s’agit d’indemniser la cessation , la diminution, la modification ou l’aménagement de son activité professionnelle pour être auprès de la victime directe après la consolidation de son état de santé.</a:t>
            </a:r>
          </a:p>
          <a:p>
            <a:r>
              <a:rPr lang="fr-FR" dirty="0"/>
              <a:t>La perte de gains temporaire qui en découle se calcule selon les critères habituels de ceux employés pour la victime directe. Il conviendra d’en déduire les sommes allouées au titre de l’aide à la personne temporaire à la victime directe rapportée au temps de travail de la victime par ricochet.</a:t>
            </a:r>
          </a:p>
          <a:p>
            <a:r>
              <a:rPr lang="fr-FR" dirty="0">
                <a:solidFill>
                  <a:schemeClr val="accent1"/>
                </a:solidFill>
              </a:rPr>
              <a:t>Ex : pour la victime par ricochet qui travaille 35h par semaine, le temps annuel de travail est de 1 607 heures soit 4h et 24 mn par jour. Dans ces conditions on ne pourra déduire de sa perte de salaire que les sommes allouées à la victime directe au titre de l’aide à la personne  dans la limite de 4h et 24 mn /jour en prenant en compte une base incluant les charges patronales et salariales.</a:t>
            </a:r>
          </a:p>
          <a:p>
            <a:r>
              <a:rPr lang="fr-FR" dirty="0"/>
              <a:t>Au-delà de la perte de gains, ce poste indemnise aussi toute autre répercussion professionnelle subie par la victime par ricochet telle que notamment la dévalorisation dans l’entreprise du fait des absences répétées ou du travail à temps partiel, de la diminution de l’implication au travail, la perte de perspectives d’évolution de carrière, la fatigabilité exacerbée au travail…</a:t>
            </a:r>
          </a:p>
          <a:p>
            <a:endParaRPr lang="fr-FR" dirty="0"/>
          </a:p>
        </p:txBody>
      </p:sp>
      <p:sp>
        <p:nvSpPr>
          <p:cNvPr id="3" name="Espace réservé du pied de page 2">
            <a:extLst>
              <a:ext uri="{FF2B5EF4-FFF2-40B4-BE49-F238E27FC236}">
                <a16:creationId xmlns:a16="http://schemas.microsoft.com/office/drawing/2014/main" id="{74CCC713-6D47-F36A-94BC-822CAA52D62E}"/>
              </a:ext>
            </a:extLst>
          </p:cNvPr>
          <p:cNvSpPr>
            <a:spLocks noGrp="1"/>
          </p:cNvSpPr>
          <p:nvPr>
            <p:ph type="ftr" sz="quarter" idx="11"/>
          </p:nvPr>
        </p:nvSpPr>
        <p:spPr>
          <a:xfrm>
            <a:off x="3774017" y="6247648"/>
            <a:ext cx="4643966" cy="365125"/>
          </a:xfrm>
        </p:spPr>
        <p:txBody>
          <a:bodyPr/>
          <a:lstStyle/>
          <a:p>
            <a:endParaRPr lang="fr-FR"/>
          </a:p>
        </p:txBody>
      </p:sp>
      <p:sp>
        <p:nvSpPr>
          <p:cNvPr id="5" name="Slide Number Placeholder 4">
            <a:extLst>
              <a:ext uri="{FF2B5EF4-FFF2-40B4-BE49-F238E27FC236}">
                <a16:creationId xmlns:a16="http://schemas.microsoft.com/office/drawing/2014/main" id="{40746DF1-8717-33AC-D776-2543340ADAF8}"/>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28</a:t>
            </a:fld>
            <a:endParaRPr lang="fr-FR"/>
          </a:p>
        </p:txBody>
      </p:sp>
    </p:spTree>
    <p:extLst>
      <p:ext uri="{BB962C8B-B14F-4D97-AF65-F5344CB8AC3E}">
        <p14:creationId xmlns:p14="http://schemas.microsoft.com/office/powerpoint/2010/main" val="33178793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798AC3-302E-7073-1013-B03818BB59F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296F4A-F6E3-CF88-643F-2D8113B01195}"/>
              </a:ext>
            </a:extLst>
          </p:cNvPr>
          <p:cNvSpPr>
            <a:spLocks noGrp="1"/>
          </p:cNvSpPr>
          <p:nvPr>
            <p:ph type="title"/>
          </p:nvPr>
        </p:nvSpPr>
        <p:spPr>
          <a:xfrm>
            <a:off x="838200" y="365126"/>
            <a:ext cx="9321800" cy="919221"/>
          </a:xfrm>
        </p:spPr>
        <p:txBody>
          <a:bodyPr/>
          <a:lstStyle/>
          <a:p>
            <a:r>
              <a:rPr lang="fr-FR" dirty="0"/>
              <a:t>3°) Préjudice économique du fait du décès de la victime directe</a:t>
            </a:r>
          </a:p>
        </p:txBody>
      </p:sp>
      <p:sp>
        <p:nvSpPr>
          <p:cNvPr id="44" name="Content Placeholder 43">
            <a:extLst>
              <a:ext uri="{FF2B5EF4-FFF2-40B4-BE49-F238E27FC236}">
                <a16:creationId xmlns:a16="http://schemas.microsoft.com/office/drawing/2014/main" id="{5A6928EF-2A0A-D804-909D-3D9DE3A0C322}"/>
              </a:ext>
            </a:extLst>
          </p:cNvPr>
          <p:cNvSpPr>
            <a:spLocks noGrp="1"/>
          </p:cNvSpPr>
          <p:nvPr>
            <p:ph idx="1"/>
          </p:nvPr>
        </p:nvSpPr>
        <p:spPr>
          <a:xfrm>
            <a:off x="838200" y="1825625"/>
            <a:ext cx="10515600" cy="3978275"/>
          </a:xfrm>
        </p:spPr>
        <p:txBody>
          <a:bodyPr/>
          <a:lstStyle/>
          <a:p>
            <a:r>
              <a:rPr lang="fr-FR" dirty="0">
                <a:solidFill>
                  <a:schemeClr val="accent1"/>
                </a:solidFill>
              </a:rPr>
              <a:t>MM</a:t>
            </a:r>
            <a:r>
              <a:rPr lang="fr-FR" dirty="0"/>
              <a:t> </a:t>
            </a:r>
          </a:p>
          <a:p>
            <a:r>
              <a:rPr lang="fr-FR" dirty="0"/>
              <a:t>Le décès de la victime directe va engendrer des pertes de revenus pour son conjoint ou concubin, ses enfants dépendants financièrement, ou tout autre membre de son foyer. </a:t>
            </a:r>
          </a:p>
          <a:p>
            <a:r>
              <a:rPr lang="fr-FR" dirty="0"/>
              <a:t>Ces pertes de revenus s’entendent de ce qui est exclusivement lié au décès et non des pertes de revenus des proches conséquences de leur préjudice corporel.</a:t>
            </a:r>
          </a:p>
          <a:p>
            <a:r>
              <a:rPr lang="fr-FR" dirty="0"/>
              <a:t>Pour déterminer la perte de revenus affectant la victime par ricochet, il y a lieu de prendre comme élément de référence, le revenu annuel du foyer avant le dommage ayant entraîné le décès de la victime directe en tenant compte de la part d’autoconsommation de celle-ci et des revenus qui continuent à être perçus par son conjoint ou concubin survivant.</a:t>
            </a:r>
          </a:p>
          <a:p>
            <a:r>
              <a:rPr lang="fr-FR" dirty="0"/>
              <a:t>Cependant, cette méthode devra être adaptée aux différentes compositions familiales (famille monoparentale, famille recomposée, foyers atypiques…). </a:t>
            </a:r>
          </a:p>
          <a:p>
            <a:r>
              <a:rPr lang="fr-FR" dirty="0"/>
              <a:t>Ce poste inclut aussi les pertes économiques de proches hors foyer en cas d’aide financière régulière de la victime directe.</a:t>
            </a:r>
          </a:p>
          <a:p>
            <a:endParaRPr lang="fr-FR" dirty="0"/>
          </a:p>
        </p:txBody>
      </p:sp>
      <p:sp>
        <p:nvSpPr>
          <p:cNvPr id="3" name="Espace réservé du pied de page 2">
            <a:extLst>
              <a:ext uri="{FF2B5EF4-FFF2-40B4-BE49-F238E27FC236}">
                <a16:creationId xmlns:a16="http://schemas.microsoft.com/office/drawing/2014/main" id="{5036A84C-EB1E-4C5E-5388-6CD592003F39}"/>
              </a:ext>
            </a:extLst>
          </p:cNvPr>
          <p:cNvSpPr>
            <a:spLocks noGrp="1"/>
          </p:cNvSpPr>
          <p:nvPr>
            <p:ph type="ftr" sz="quarter" idx="11"/>
          </p:nvPr>
        </p:nvSpPr>
        <p:spPr>
          <a:xfrm>
            <a:off x="3774017" y="6247648"/>
            <a:ext cx="4643966" cy="365125"/>
          </a:xfrm>
        </p:spPr>
        <p:txBody>
          <a:bodyPr/>
          <a:lstStyle/>
          <a:p>
            <a:endParaRPr lang="fr-FR"/>
          </a:p>
        </p:txBody>
      </p:sp>
      <p:sp>
        <p:nvSpPr>
          <p:cNvPr id="5" name="Slide Number Placeholder 4">
            <a:extLst>
              <a:ext uri="{FF2B5EF4-FFF2-40B4-BE49-F238E27FC236}">
                <a16:creationId xmlns:a16="http://schemas.microsoft.com/office/drawing/2014/main" id="{60526686-73AF-DAFD-90DF-DAAFCDBF1118}"/>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29</a:t>
            </a:fld>
            <a:endParaRPr lang="fr-FR"/>
          </a:p>
        </p:txBody>
      </p:sp>
    </p:spTree>
    <p:extLst>
      <p:ext uri="{BB962C8B-B14F-4D97-AF65-F5344CB8AC3E}">
        <p14:creationId xmlns:p14="http://schemas.microsoft.com/office/powerpoint/2010/main" val="32031986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D8DD2DC5-E55D-B9C8-4933-B0B3023E92CC}"/>
              </a:ext>
            </a:extLst>
          </p:cNvPr>
          <p:cNvSpPr>
            <a:spLocks noGrp="1"/>
          </p:cNvSpPr>
          <p:nvPr>
            <p:ph type="title"/>
          </p:nvPr>
        </p:nvSpPr>
        <p:spPr>
          <a:xfrm>
            <a:off x="838200" y="365126"/>
            <a:ext cx="9321800" cy="919221"/>
          </a:xfrm>
        </p:spPr>
        <p:txBody>
          <a:bodyPr/>
          <a:lstStyle/>
          <a:p>
            <a:r>
              <a:rPr lang="fr-FR" dirty="0"/>
              <a:t>La Nomenclature Dintilhac des victimes par ricochet : le bilan 20 ans après</a:t>
            </a:r>
          </a:p>
        </p:txBody>
      </p:sp>
      <p:sp>
        <p:nvSpPr>
          <p:cNvPr id="6" name="Espace réservé du contenu 5">
            <a:extLst>
              <a:ext uri="{FF2B5EF4-FFF2-40B4-BE49-F238E27FC236}">
                <a16:creationId xmlns:a16="http://schemas.microsoft.com/office/drawing/2014/main" id="{092FF1F2-C0C2-8390-08DC-A04BD535897E}"/>
              </a:ext>
            </a:extLst>
          </p:cNvPr>
          <p:cNvSpPr>
            <a:spLocks noGrp="1"/>
          </p:cNvSpPr>
          <p:nvPr>
            <p:ph idx="1"/>
          </p:nvPr>
        </p:nvSpPr>
        <p:spPr>
          <a:xfrm>
            <a:off x="838200" y="1825625"/>
            <a:ext cx="10515600" cy="3978275"/>
          </a:xfrm>
        </p:spPr>
        <p:txBody>
          <a:bodyPr/>
          <a:lstStyle/>
          <a:p>
            <a:r>
              <a:rPr lang="fr-FR" b="1" dirty="0">
                <a:solidFill>
                  <a:schemeClr val="accent1"/>
                </a:solidFill>
              </a:rPr>
              <a:t>BM</a:t>
            </a:r>
          </a:p>
          <a:p>
            <a:endParaRPr lang="fr-FR" dirty="0"/>
          </a:p>
          <a:p>
            <a:r>
              <a:rPr lang="fr-FR" dirty="0"/>
              <a:t>La  nomenclature Dintilhac des préjudices des victimes par ricochet n’est pas aussi aboutie que celle des victimes directes.</a:t>
            </a:r>
          </a:p>
          <a:p>
            <a:endParaRPr lang="fr-FR" dirty="0"/>
          </a:p>
          <a:p>
            <a:r>
              <a:rPr lang="fr-FR" dirty="0"/>
              <a:t>Elle présente un cadre structuré et utile mais qui a pu apparaitre inachevé.</a:t>
            </a:r>
          </a:p>
          <a:p>
            <a:endParaRPr lang="fr-FR" dirty="0"/>
          </a:p>
          <a:p>
            <a:r>
              <a:rPr lang="fr-FR" dirty="0"/>
              <a:t>Cette nomenclature n’a qu’une valeur indicative ; et rien ne s’est opposé à des constructions jurisprudentielles créatives permettant l’émergence de poste de préjudice nouveaux.</a:t>
            </a:r>
          </a:p>
        </p:txBody>
      </p:sp>
      <p:sp>
        <p:nvSpPr>
          <p:cNvPr id="3" name="Espace réservé du pied de page 2">
            <a:extLst>
              <a:ext uri="{FF2B5EF4-FFF2-40B4-BE49-F238E27FC236}">
                <a16:creationId xmlns:a16="http://schemas.microsoft.com/office/drawing/2014/main" id="{BDADE9B0-681D-39EA-74BB-70117DA80210}"/>
              </a:ext>
            </a:extLst>
          </p:cNvPr>
          <p:cNvSpPr>
            <a:spLocks noGrp="1"/>
          </p:cNvSpPr>
          <p:nvPr>
            <p:ph type="ftr" sz="quarter" idx="11"/>
          </p:nvPr>
        </p:nvSpPr>
        <p:spPr>
          <a:xfrm>
            <a:off x="3774017" y="6247648"/>
            <a:ext cx="4643966" cy="365125"/>
          </a:xfrm>
        </p:spPr>
        <p:txBody>
          <a:bodyPr/>
          <a:lstStyle/>
          <a:p>
            <a:endParaRPr lang="fr-FR"/>
          </a:p>
        </p:txBody>
      </p:sp>
      <p:sp>
        <p:nvSpPr>
          <p:cNvPr id="2" name="Espace réservé du numéro de diapositive 1">
            <a:extLst>
              <a:ext uri="{FF2B5EF4-FFF2-40B4-BE49-F238E27FC236}">
                <a16:creationId xmlns:a16="http://schemas.microsoft.com/office/drawing/2014/main" id="{5EAA8A71-9731-F8D8-9564-D2B9F2AE32FD}"/>
              </a:ext>
            </a:extLst>
          </p:cNvPr>
          <p:cNvSpPr>
            <a:spLocks noGrp="1"/>
          </p:cNvSpPr>
          <p:nvPr>
            <p:ph type="sldNum" sz="quarter" idx="12"/>
          </p:nvPr>
        </p:nvSpPr>
        <p:spPr>
          <a:xfrm>
            <a:off x="11506200" y="85407"/>
            <a:ext cx="685800" cy="365125"/>
          </a:xfrm>
        </p:spPr>
        <p:txBody>
          <a:bodyPr/>
          <a:lstStyle/>
          <a:p>
            <a:fld id="{8415421A-8635-4166-92D2-5F6D44CB9F91}" type="slidenum">
              <a:rPr lang="fr-FR" smtClean="0"/>
              <a:pPr/>
              <a:t>3</a:t>
            </a:fld>
            <a:endParaRPr lang="fr-FR"/>
          </a:p>
        </p:txBody>
      </p:sp>
    </p:spTree>
    <p:extLst>
      <p:ext uri="{BB962C8B-B14F-4D97-AF65-F5344CB8AC3E}">
        <p14:creationId xmlns:p14="http://schemas.microsoft.com/office/powerpoint/2010/main" val="7738210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4371E-9DB4-7AD3-F7D6-5C9138817A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15B5DBF-C187-F8F1-2A77-6C49DE3B6D13}"/>
              </a:ext>
            </a:extLst>
          </p:cNvPr>
          <p:cNvSpPr>
            <a:spLocks noGrp="1"/>
          </p:cNvSpPr>
          <p:nvPr>
            <p:ph type="title"/>
          </p:nvPr>
        </p:nvSpPr>
        <p:spPr>
          <a:xfrm>
            <a:off x="838200" y="365126"/>
            <a:ext cx="9321800" cy="919221"/>
          </a:xfrm>
        </p:spPr>
        <p:txBody>
          <a:bodyPr/>
          <a:lstStyle/>
          <a:p>
            <a:r>
              <a:rPr lang="fr-FR" dirty="0"/>
              <a:t>4°) Perte d’assistance personnelle ou domestique</a:t>
            </a:r>
            <a:br>
              <a:rPr lang="fr-FR" dirty="0"/>
            </a:br>
            <a:endParaRPr lang="fr-FR" dirty="0"/>
          </a:p>
        </p:txBody>
      </p:sp>
      <p:sp>
        <p:nvSpPr>
          <p:cNvPr id="44" name="Content Placeholder 43">
            <a:extLst>
              <a:ext uri="{FF2B5EF4-FFF2-40B4-BE49-F238E27FC236}">
                <a16:creationId xmlns:a16="http://schemas.microsoft.com/office/drawing/2014/main" id="{DBA24AB5-46F1-0939-5BEC-E0A67C9069B9}"/>
              </a:ext>
            </a:extLst>
          </p:cNvPr>
          <p:cNvSpPr>
            <a:spLocks noGrp="1"/>
          </p:cNvSpPr>
          <p:nvPr>
            <p:ph idx="1"/>
          </p:nvPr>
        </p:nvSpPr>
        <p:spPr>
          <a:xfrm>
            <a:off x="838200" y="1101725"/>
            <a:ext cx="10801350" cy="3978275"/>
          </a:xfrm>
        </p:spPr>
        <p:txBody>
          <a:bodyPr/>
          <a:lstStyle/>
          <a:p>
            <a:r>
              <a:rPr lang="fr-FR" dirty="0">
                <a:solidFill>
                  <a:schemeClr val="accent1"/>
                </a:solidFill>
              </a:rPr>
              <a:t>MM</a:t>
            </a:r>
          </a:p>
          <a:p>
            <a:r>
              <a:rPr lang="fr-FR" dirty="0"/>
              <a:t>Ce poste de préjudice désigne la perte définitive pour la victime par ricochet du bénéfice de l'activité non rémunérée de la victime directe, c'est à dire la perte d'avantages en nature ou d'économies liée à l'activité de la victime directe décédée ou diminuée dont profitaient la victime par ricochet avant l'évènement dommageable. </a:t>
            </a:r>
          </a:p>
          <a:p>
            <a:r>
              <a:rPr lang="fr-FR" dirty="0"/>
              <a:t>Lorsque la victime directe assumait une telle activité au profit de ses proches et qu’elle ne le peut plus du fait de son décès ou de son handicap, ses proches subissent, par ricochet, une perte d’avantages en nature ou d’économies qu’il convient d’indemniser.</a:t>
            </a:r>
          </a:p>
          <a:p>
            <a:r>
              <a:rPr lang="fr-FR" dirty="0"/>
              <a:t>En cas de survie, il s’agit de la perte de l’aide de la victime directe pour effectuer une tâche que la victime par ricochet n’avait pas la disponibilité, la capacité matérielle ou physique de réaliser elle-même et qui n’est pas indemnisée au titre de l’aide à la personne de la victime directe. </a:t>
            </a:r>
          </a:p>
          <a:p>
            <a:r>
              <a:rPr lang="fr-FR" dirty="0"/>
              <a:t>En cas de décès, ce préjudice concerne la perte de l’ensemble de l’assistance personnelle ou domestique qu’apportait la victime directe aux membres de son foyer ou à d’autres proches.</a:t>
            </a:r>
          </a:p>
          <a:p>
            <a:r>
              <a:rPr lang="fr-FR" dirty="0"/>
              <a:t>Ce poste de préjudice couvre notamment la perte de la réalisation des tâches domestiques, éducatives et de soins réalisés par la victime directe dont bénéficiait la victime par ricochet, comme par exemple : les courses, le ménage, la cuisine, le jardinage, le bricolage, la garde et le soin des enfants, l'aide aux devoirs, les accompagnements scolaires et extra-scolaires, les déplacements, les soins et l’aide prodiguée à la victime par ricochet...</a:t>
            </a:r>
          </a:p>
          <a:p>
            <a:endParaRPr lang="fr-FR" dirty="0"/>
          </a:p>
        </p:txBody>
      </p:sp>
      <p:sp>
        <p:nvSpPr>
          <p:cNvPr id="3" name="Espace réservé du pied de page 2">
            <a:extLst>
              <a:ext uri="{FF2B5EF4-FFF2-40B4-BE49-F238E27FC236}">
                <a16:creationId xmlns:a16="http://schemas.microsoft.com/office/drawing/2014/main" id="{C810CD49-E1FE-D479-0005-BFEE048D0C08}"/>
              </a:ext>
            </a:extLst>
          </p:cNvPr>
          <p:cNvSpPr>
            <a:spLocks noGrp="1"/>
          </p:cNvSpPr>
          <p:nvPr>
            <p:ph type="ftr" sz="quarter" idx="11"/>
          </p:nvPr>
        </p:nvSpPr>
        <p:spPr>
          <a:xfrm>
            <a:off x="3774017" y="6247648"/>
            <a:ext cx="4643966" cy="365125"/>
          </a:xfrm>
        </p:spPr>
        <p:txBody>
          <a:bodyPr/>
          <a:lstStyle/>
          <a:p>
            <a:endParaRPr lang="fr-FR"/>
          </a:p>
        </p:txBody>
      </p:sp>
      <p:sp>
        <p:nvSpPr>
          <p:cNvPr id="5" name="Slide Number Placeholder 4">
            <a:extLst>
              <a:ext uri="{FF2B5EF4-FFF2-40B4-BE49-F238E27FC236}">
                <a16:creationId xmlns:a16="http://schemas.microsoft.com/office/drawing/2014/main" id="{44BA7B75-5688-E450-234D-E6AAB21C7BD4}"/>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0</a:t>
            </a:fld>
            <a:endParaRPr lang="fr-FR"/>
          </a:p>
        </p:txBody>
      </p:sp>
    </p:spTree>
    <p:extLst>
      <p:ext uri="{BB962C8B-B14F-4D97-AF65-F5344CB8AC3E}">
        <p14:creationId xmlns:p14="http://schemas.microsoft.com/office/powerpoint/2010/main" val="18728267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C8D097-FDBC-4076-B0FF-251AA256E9E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C0F5680-17FF-984A-F2C0-BA9C602443F7}"/>
              </a:ext>
            </a:extLst>
          </p:cNvPr>
          <p:cNvSpPr>
            <a:spLocks noGrp="1"/>
          </p:cNvSpPr>
          <p:nvPr>
            <p:ph type="ctrTitle"/>
          </p:nvPr>
        </p:nvSpPr>
        <p:spPr>
          <a:xfrm>
            <a:off x="757237" y="1320800"/>
            <a:ext cx="6015037" cy="2387600"/>
          </a:xfrm>
        </p:spPr>
        <p:txBody>
          <a:bodyPr/>
          <a:lstStyle/>
          <a:p>
            <a:r>
              <a:rPr lang="fr-FR" dirty="0"/>
              <a:t>PREJUDICES CORPORELS DE LA VICTIME PAR RICOCHET </a:t>
            </a:r>
            <a:br>
              <a:rPr lang="fr-FR" dirty="0"/>
            </a:br>
            <a:r>
              <a:rPr lang="fr-FR" sz="2400" b="0" dirty="0">
                <a:solidFill>
                  <a:schemeClr val="accent1"/>
                </a:solidFill>
                <a:latin typeface="+mn-lt"/>
              </a:rPr>
              <a:t>LCR</a:t>
            </a:r>
            <a:endParaRPr lang="fr-FR" b="0" dirty="0">
              <a:solidFill>
                <a:schemeClr val="accent1"/>
              </a:solidFill>
              <a:latin typeface="+mn-lt"/>
            </a:endParaRPr>
          </a:p>
        </p:txBody>
      </p:sp>
    </p:spTree>
    <p:extLst>
      <p:ext uri="{BB962C8B-B14F-4D97-AF65-F5344CB8AC3E}">
        <p14:creationId xmlns:p14="http://schemas.microsoft.com/office/powerpoint/2010/main" val="13944625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49A94A-7D7B-7FB1-B09E-CB321A97EEE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E4EEE74A-52BE-DC32-DF8F-9B41190CF607}"/>
              </a:ext>
            </a:extLst>
          </p:cNvPr>
          <p:cNvSpPr>
            <a:spLocks noGrp="1"/>
          </p:cNvSpPr>
          <p:nvPr>
            <p:ph type="title"/>
          </p:nvPr>
        </p:nvSpPr>
        <p:spPr/>
        <p:txBody>
          <a:bodyPr/>
          <a:lstStyle/>
          <a:p>
            <a:endParaRPr lang="fr-FR"/>
          </a:p>
        </p:txBody>
      </p:sp>
      <p:sp>
        <p:nvSpPr>
          <p:cNvPr id="44" name="Content Placeholder 43">
            <a:extLst>
              <a:ext uri="{FF2B5EF4-FFF2-40B4-BE49-F238E27FC236}">
                <a16:creationId xmlns:a16="http://schemas.microsoft.com/office/drawing/2014/main" id="{1791183B-ABEF-CBE5-A44F-8ADEC70CFBAB}"/>
              </a:ext>
            </a:extLst>
          </p:cNvPr>
          <p:cNvSpPr>
            <a:spLocks noGrp="1"/>
          </p:cNvSpPr>
          <p:nvPr>
            <p:ph idx="1"/>
          </p:nvPr>
        </p:nvSpPr>
        <p:spPr>
          <a:xfrm>
            <a:off x="838200" y="1825625"/>
            <a:ext cx="10515600" cy="3978275"/>
          </a:xfrm>
        </p:spPr>
        <p:txBody>
          <a:bodyPr/>
          <a:lstStyle/>
          <a:p>
            <a:r>
              <a:rPr lang="fr-FR" dirty="0">
                <a:solidFill>
                  <a:schemeClr val="accent1"/>
                </a:solidFill>
              </a:rPr>
              <a:t>MM</a:t>
            </a:r>
          </a:p>
          <a:p>
            <a:r>
              <a:rPr lang="fr-FR" dirty="0"/>
              <a:t>Outre la peine et les troubles dans les conditions d’existence provoqués par l’atteinte corporelle ou le décès de la victime directe, il arrive que la victime par ricochet développe des réactions pathologiques comme un stress post-traumatique ou un état dépressif permanent.</a:t>
            </a:r>
          </a:p>
          <a:p>
            <a:r>
              <a:rPr lang="fr-FR" dirty="0"/>
              <a:t>La victime par ricochet présente alors un dommage corporel propre qui doit être considéré et indemnisé au même titre que celui d’une victime directe.</a:t>
            </a:r>
          </a:p>
          <a:p>
            <a:r>
              <a:rPr lang="fr-FR" dirty="0"/>
              <a:t>Dans ce cadre, il est fait renvoi à la nomenclature des postes de préjudice de la victime directe.</a:t>
            </a:r>
          </a:p>
          <a:p>
            <a:r>
              <a:rPr lang="fr-FR" dirty="0"/>
              <a:t>Le préjudice corporel propre de la victime par ricochet vient s’ajouter à ses préjudices relationnels.</a:t>
            </a:r>
          </a:p>
          <a:p>
            <a:r>
              <a:rPr lang="fr-FR" dirty="0">
                <a:solidFill>
                  <a:schemeClr val="accent1"/>
                </a:solidFill>
              </a:rPr>
              <a:t>cf. renvoi à la nomenclature des victimes directes</a:t>
            </a:r>
          </a:p>
          <a:p>
            <a:endParaRPr lang="fr-FR" dirty="0"/>
          </a:p>
          <a:p>
            <a:endParaRPr lang="fr-FR" dirty="0"/>
          </a:p>
          <a:p>
            <a:endParaRPr lang="fr-FR" dirty="0"/>
          </a:p>
          <a:p>
            <a:endParaRPr lang="fr-FR" dirty="0"/>
          </a:p>
        </p:txBody>
      </p:sp>
      <p:sp>
        <p:nvSpPr>
          <p:cNvPr id="2" name="Espace réservé du pied de page 1">
            <a:extLst>
              <a:ext uri="{FF2B5EF4-FFF2-40B4-BE49-F238E27FC236}">
                <a16:creationId xmlns:a16="http://schemas.microsoft.com/office/drawing/2014/main" id="{91C0E098-0DB4-8899-53B8-9F500BD573E3}"/>
              </a:ext>
            </a:extLst>
          </p:cNvPr>
          <p:cNvSpPr>
            <a:spLocks noGrp="1"/>
          </p:cNvSpPr>
          <p:nvPr>
            <p:ph type="ftr" sz="quarter" idx="11"/>
          </p:nvPr>
        </p:nvSpPr>
        <p:spPr>
          <a:xfrm>
            <a:off x="3774017" y="6247648"/>
            <a:ext cx="4643966" cy="365125"/>
          </a:xfrm>
        </p:spPr>
        <p:txBody>
          <a:bodyPr/>
          <a:lstStyle/>
          <a:p>
            <a:endParaRPr lang="fr-FR"/>
          </a:p>
        </p:txBody>
      </p:sp>
      <p:sp>
        <p:nvSpPr>
          <p:cNvPr id="5" name="Slide Number Placeholder 4">
            <a:extLst>
              <a:ext uri="{FF2B5EF4-FFF2-40B4-BE49-F238E27FC236}">
                <a16:creationId xmlns:a16="http://schemas.microsoft.com/office/drawing/2014/main" id="{C94B7C23-FA49-45AA-16A3-5E66B17F4FCE}"/>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2</a:t>
            </a:fld>
            <a:endParaRPr lang="fr-FR"/>
          </a:p>
        </p:txBody>
      </p:sp>
    </p:spTree>
    <p:extLst>
      <p:ext uri="{BB962C8B-B14F-4D97-AF65-F5344CB8AC3E}">
        <p14:creationId xmlns:p14="http://schemas.microsoft.com/office/powerpoint/2010/main" val="31498738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EDE89C-C7E1-0224-989F-5D6942A348AD}"/>
            </a:ext>
          </a:extLst>
        </p:cNvPr>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F5289FE7-5F9B-3F30-A1A8-AEA3ED340D86}"/>
              </a:ext>
            </a:extLst>
          </p:cNvPr>
          <p:cNvSpPr>
            <a:spLocks noGrp="1"/>
          </p:cNvSpPr>
          <p:nvPr>
            <p:ph idx="1"/>
          </p:nvPr>
        </p:nvSpPr>
        <p:spPr>
          <a:xfrm>
            <a:off x="4657725" y="1660745"/>
            <a:ext cx="7200900" cy="3597055"/>
          </a:xfrm>
        </p:spPr>
        <p:txBody>
          <a:bodyPr/>
          <a:lstStyle/>
          <a:p>
            <a:pPr lvl="0"/>
            <a:r>
              <a:rPr lang="fr-FR" sz="2800" b="1" dirty="0">
                <a:solidFill>
                  <a:schemeClr val="accent1"/>
                </a:solidFill>
              </a:rPr>
              <a:t>PREJUDICES TEMPORAIRES :</a:t>
            </a:r>
          </a:p>
          <a:p>
            <a:pPr lvl="0"/>
            <a:r>
              <a:rPr lang="fr-FR" sz="2400" b="1" dirty="0">
                <a:solidFill>
                  <a:schemeClr val="accent2"/>
                </a:solidFill>
              </a:rPr>
              <a:t>Préjudices extra-patrimoniaux temporaires :</a:t>
            </a:r>
            <a:endParaRPr lang="fr-FR" sz="2400" dirty="0">
              <a:solidFill>
                <a:schemeClr val="accent2"/>
              </a:solidFill>
            </a:endParaRPr>
          </a:p>
          <a:p>
            <a:pPr marL="285750" lvl="0" indent="-285750">
              <a:buFont typeface="Arial" panose="020B0604020202020204" pitchFamily="34" charset="0"/>
              <a:buChar char="•"/>
            </a:pPr>
            <a:r>
              <a:rPr lang="fr-FR" sz="2400" b="1" i="1" dirty="0"/>
              <a:t>Préjudice d’Attente et d’Inquiétude</a:t>
            </a:r>
          </a:p>
          <a:p>
            <a:pPr marL="285750" lvl="0" indent="-285750">
              <a:buFont typeface="Arial" panose="020B0604020202020204" pitchFamily="34" charset="0"/>
              <a:buChar char="•"/>
            </a:pPr>
            <a:r>
              <a:rPr lang="fr-FR" sz="2400" b="1" i="1" dirty="0"/>
              <a:t>Préjudice d’accompagnement</a:t>
            </a:r>
            <a:endParaRPr lang="fr-FR" sz="2400" dirty="0"/>
          </a:p>
          <a:p>
            <a:r>
              <a:rPr lang="fr-FR" sz="2400" b="1" dirty="0">
                <a:solidFill>
                  <a:schemeClr val="accent2"/>
                </a:solidFill>
              </a:rPr>
              <a:t>Préjudices patrimoniaux temporaires :</a:t>
            </a:r>
            <a:endParaRPr lang="fr-FR" sz="2400" dirty="0">
              <a:solidFill>
                <a:schemeClr val="accent2"/>
              </a:solidFill>
            </a:endParaRPr>
          </a:p>
          <a:p>
            <a:pPr marL="285750" lvl="0" indent="-285750">
              <a:buFont typeface="Arial" panose="020B0604020202020204" pitchFamily="34" charset="0"/>
              <a:buChar char="•"/>
            </a:pPr>
            <a:r>
              <a:rPr lang="fr-FR" sz="2400" b="1" i="1" dirty="0"/>
              <a:t>Frais divers temporaires</a:t>
            </a:r>
            <a:endParaRPr lang="fr-FR" sz="2400" dirty="0"/>
          </a:p>
          <a:p>
            <a:pPr marL="285750" lvl="0" indent="-285750">
              <a:buFont typeface="Arial" panose="020B0604020202020204" pitchFamily="34" charset="0"/>
              <a:buChar char="•"/>
            </a:pPr>
            <a:r>
              <a:rPr lang="fr-FR" sz="2400" b="1" i="1" dirty="0"/>
              <a:t>Préjudice professionnel temporaire </a:t>
            </a:r>
            <a:endParaRPr lang="fr-FR" sz="2400" dirty="0"/>
          </a:p>
          <a:p>
            <a:endParaRPr lang="fr-FR" dirty="0"/>
          </a:p>
        </p:txBody>
      </p:sp>
      <p:sp>
        <p:nvSpPr>
          <p:cNvPr id="5" name="Title 4">
            <a:extLst>
              <a:ext uri="{FF2B5EF4-FFF2-40B4-BE49-F238E27FC236}">
                <a16:creationId xmlns:a16="http://schemas.microsoft.com/office/drawing/2014/main" id="{DD7ACA8F-BC25-77B1-673C-E2BCE5BB6765}"/>
              </a:ext>
            </a:extLst>
          </p:cNvPr>
          <p:cNvSpPr>
            <a:spLocks noGrp="1"/>
          </p:cNvSpPr>
          <p:nvPr>
            <p:ph type="title"/>
          </p:nvPr>
        </p:nvSpPr>
        <p:spPr/>
        <p:txBody>
          <a:bodyPr/>
          <a:lstStyle/>
          <a:p>
            <a:pPr algn="ctr"/>
            <a:r>
              <a:rPr lang="fr-FR" sz="3200" dirty="0">
                <a:latin typeface="Calibri" panose="020F0502020204030204" pitchFamily="34" charset="0"/>
                <a:cs typeface="Calibri" panose="020F0502020204030204" pitchFamily="34" charset="0"/>
              </a:rPr>
              <a:t>PREJUDICES RELATIONNELS PAR RICOCHET</a:t>
            </a:r>
          </a:p>
        </p:txBody>
      </p:sp>
      <p:sp>
        <p:nvSpPr>
          <p:cNvPr id="3" name="Espace réservé du numéro de diapositive 2">
            <a:extLst>
              <a:ext uri="{FF2B5EF4-FFF2-40B4-BE49-F238E27FC236}">
                <a16:creationId xmlns:a16="http://schemas.microsoft.com/office/drawing/2014/main" id="{BC43059E-F295-74DA-FD2D-22500E453FA9}"/>
              </a:ext>
            </a:extLst>
          </p:cNvPr>
          <p:cNvSpPr>
            <a:spLocks noGrp="1"/>
          </p:cNvSpPr>
          <p:nvPr>
            <p:ph type="sldNum" sz="quarter" idx="12"/>
          </p:nvPr>
        </p:nvSpPr>
        <p:spPr/>
        <p:txBody>
          <a:bodyPr/>
          <a:lstStyle/>
          <a:p>
            <a:fld id="{8415421A-8635-4166-92D2-5F6D44CB9F91}" type="slidenum">
              <a:rPr lang="fr-FR" smtClean="0"/>
              <a:t>33</a:t>
            </a:fld>
            <a:endParaRPr lang="fr-FR"/>
          </a:p>
        </p:txBody>
      </p:sp>
      <p:sp>
        <p:nvSpPr>
          <p:cNvPr id="4" name="Espace réservé du pied de page 3">
            <a:extLst>
              <a:ext uri="{FF2B5EF4-FFF2-40B4-BE49-F238E27FC236}">
                <a16:creationId xmlns:a16="http://schemas.microsoft.com/office/drawing/2014/main" id="{AED08D3C-4A96-8595-A984-C4780E10A8A7}"/>
              </a:ext>
            </a:extLst>
          </p:cNvPr>
          <p:cNvSpPr>
            <a:spLocks noGrp="1"/>
          </p:cNvSpPr>
          <p:nvPr>
            <p:ph type="ftr" sz="quarter" idx="11"/>
          </p:nvPr>
        </p:nvSpPr>
        <p:spPr/>
        <p:txBody>
          <a:bodyPr/>
          <a:lstStyle/>
          <a:p>
            <a:endParaRPr lang="fr-FR" dirty="0"/>
          </a:p>
        </p:txBody>
      </p:sp>
    </p:spTree>
    <p:extLst>
      <p:ext uri="{BB962C8B-B14F-4D97-AF65-F5344CB8AC3E}">
        <p14:creationId xmlns:p14="http://schemas.microsoft.com/office/powerpoint/2010/main" val="15563917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BD5D6D-A950-49FA-9843-2FFF680A767A}"/>
            </a:ext>
          </a:extLst>
        </p:cNvPr>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F27ADD8D-5F7B-85A8-1B16-FE71CFADA3E5}"/>
              </a:ext>
            </a:extLst>
          </p:cNvPr>
          <p:cNvSpPr>
            <a:spLocks noGrp="1"/>
          </p:cNvSpPr>
          <p:nvPr>
            <p:ph idx="1"/>
          </p:nvPr>
        </p:nvSpPr>
        <p:spPr>
          <a:xfrm>
            <a:off x="4543425" y="741524"/>
            <a:ext cx="7315200" cy="5267326"/>
          </a:xfrm>
        </p:spPr>
        <p:txBody>
          <a:bodyPr/>
          <a:lstStyle/>
          <a:p>
            <a:r>
              <a:rPr lang="fr-FR" sz="2400" b="1" dirty="0">
                <a:solidFill>
                  <a:schemeClr val="accent1"/>
                </a:solidFill>
              </a:rPr>
              <a:t>PREJUDICES APRES DECES OU CONSOLIDATION </a:t>
            </a:r>
            <a:br>
              <a:rPr lang="fr-FR" sz="2400" b="1" dirty="0">
                <a:solidFill>
                  <a:schemeClr val="accent1"/>
                </a:solidFill>
              </a:rPr>
            </a:br>
            <a:r>
              <a:rPr lang="fr-FR" sz="2400" b="1" dirty="0">
                <a:solidFill>
                  <a:schemeClr val="accent1"/>
                </a:solidFill>
              </a:rPr>
              <a:t>DE LA VICTIME DIRECTE: </a:t>
            </a:r>
          </a:p>
          <a:p>
            <a:r>
              <a:rPr lang="fr-FR" sz="2000" b="1" dirty="0">
                <a:solidFill>
                  <a:schemeClr val="accent2"/>
                </a:solidFill>
              </a:rPr>
              <a:t>Préjudices extra-patrimoniaux après décès ou consolidation :</a:t>
            </a:r>
            <a:endParaRPr lang="fr-FR" sz="2000" dirty="0">
              <a:solidFill>
                <a:schemeClr val="accent2"/>
              </a:solidFill>
            </a:endParaRPr>
          </a:p>
          <a:p>
            <a:pPr marL="285750" lvl="0" indent="-285750">
              <a:buFont typeface="Arial" panose="020B0604020202020204" pitchFamily="34" charset="0"/>
              <a:buChar char="•"/>
            </a:pPr>
            <a:r>
              <a:rPr lang="fr-FR" sz="2000" b="1" i="1" dirty="0"/>
              <a:t>Préjudice d’Affection </a:t>
            </a:r>
            <a:endParaRPr lang="fr-FR" sz="2000" dirty="0"/>
          </a:p>
          <a:p>
            <a:pPr marL="285750" lvl="0" indent="-285750">
              <a:buFont typeface="Arial" panose="020B0604020202020204" pitchFamily="34" charset="0"/>
              <a:buChar char="•"/>
            </a:pPr>
            <a:r>
              <a:rPr lang="fr-FR" sz="2000" b="1" i="1" dirty="0"/>
              <a:t>Troubles dans les conditions d’existence </a:t>
            </a:r>
            <a:endParaRPr lang="fr-FR" sz="2000" dirty="0"/>
          </a:p>
          <a:p>
            <a:r>
              <a:rPr lang="fr-FR" sz="2000" b="1" dirty="0">
                <a:solidFill>
                  <a:schemeClr val="accent2"/>
                </a:solidFill>
              </a:rPr>
              <a:t>Préjudices patrimoniaux après décès ou consolidation de la victime directe:</a:t>
            </a:r>
            <a:endParaRPr lang="fr-FR" sz="2000" dirty="0">
              <a:solidFill>
                <a:schemeClr val="accent2"/>
              </a:solidFill>
            </a:endParaRPr>
          </a:p>
          <a:p>
            <a:pPr marL="285750" lvl="0" indent="-285750">
              <a:buFont typeface="Arial" panose="020B0604020202020204" pitchFamily="34" charset="0"/>
              <a:buChar char="•"/>
            </a:pPr>
            <a:r>
              <a:rPr lang="fr-FR" sz="2000" b="1" i="1" dirty="0"/>
              <a:t>Frais divers après décès ou après la consolidation </a:t>
            </a:r>
            <a:endParaRPr lang="fr-FR" sz="2000" dirty="0"/>
          </a:p>
          <a:p>
            <a:pPr marL="285750" lvl="0" indent="-285750">
              <a:buFont typeface="Arial" panose="020B0604020202020204" pitchFamily="34" charset="0"/>
              <a:buChar char="•"/>
            </a:pPr>
            <a:r>
              <a:rPr lang="fr-FR" sz="2000" b="1" i="1" dirty="0"/>
              <a:t> Préjudice professionnel après la consolidation en cas de survie de la victime directe</a:t>
            </a:r>
            <a:endParaRPr lang="fr-FR" sz="2000" dirty="0"/>
          </a:p>
          <a:p>
            <a:pPr marL="285750" lvl="0" indent="-285750">
              <a:buFont typeface="Arial" panose="020B0604020202020204" pitchFamily="34" charset="0"/>
              <a:buChar char="•"/>
            </a:pPr>
            <a:r>
              <a:rPr lang="fr-FR" sz="2000" b="1" i="1" dirty="0"/>
              <a:t>Préjudice économique du fait du décès de la victime directe</a:t>
            </a:r>
          </a:p>
          <a:p>
            <a:pPr marL="285750" lvl="0" indent="-285750">
              <a:buFont typeface="Arial" panose="020B0604020202020204" pitchFamily="34" charset="0"/>
              <a:buChar char="•"/>
            </a:pPr>
            <a:r>
              <a:rPr lang="fr-FR" sz="2000" b="1" i="1" dirty="0"/>
              <a:t>Perte d’assistance personnelle ou domestique : </a:t>
            </a:r>
            <a:endParaRPr lang="fr-FR" sz="2000" dirty="0"/>
          </a:p>
          <a:p>
            <a:endParaRPr lang="fr-FR" dirty="0"/>
          </a:p>
        </p:txBody>
      </p:sp>
      <p:sp>
        <p:nvSpPr>
          <p:cNvPr id="5" name="Title 4">
            <a:extLst>
              <a:ext uri="{FF2B5EF4-FFF2-40B4-BE49-F238E27FC236}">
                <a16:creationId xmlns:a16="http://schemas.microsoft.com/office/drawing/2014/main" id="{51359F56-0C14-05FB-2675-315EDC087C56}"/>
              </a:ext>
            </a:extLst>
          </p:cNvPr>
          <p:cNvSpPr>
            <a:spLocks noGrp="1"/>
          </p:cNvSpPr>
          <p:nvPr>
            <p:ph type="title"/>
          </p:nvPr>
        </p:nvSpPr>
        <p:spPr/>
        <p:txBody>
          <a:bodyPr/>
          <a:lstStyle/>
          <a:p>
            <a:pPr algn="ctr"/>
            <a:r>
              <a:rPr lang="fr-FR" sz="3200" dirty="0">
                <a:latin typeface="Calibri" panose="020F0502020204030204" pitchFamily="34" charset="0"/>
                <a:cs typeface="Calibri" panose="020F0502020204030204" pitchFamily="34" charset="0"/>
              </a:rPr>
              <a:t>PREJUDICES RELATIONNELS PAR RICOCHET</a:t>
            </a:r>
          </a:p>
        </p:txBody>
      </p:sp>
      <p:sp>
        <p:nvSpPr>
          <p:cNvPr id="3" name="Espace réservé du numéro de diapositive 2">
            <a:extLst>
              <a:ext uri="{FF2B5EF4-FFF2-40B4-BE49-F238E27FC236}">
                <a16:creationId xmlns:a16="http://schemas.microsoft.com/office/drawing/2014/main" id="{6C70AD11-3136-E1BD-FD42-B48974CD55E0}"/>
              </a:ext>
            </a:extLst>
          </p:cNvPr>
          <p:cNvSpPr>
            <a:spLocks noGrp="1"/>
          </p:cNvSpPr>
          <p:nvPr>
            <p:ph type="sldNum" sz="quarter" idx="12"/>
          </p:nvPr>
        </p:nvSpPr>
        <p:spPr/>
        <p:txBody>
          <a:bodyPr/>
          <a:lstStyle/>
          <a:p>
            <a:fld id="{8415421A-8635-4166-92D2-5F6D44CB9F91}" type="slidenum">
              <a:rPr lang="fr-FR" smtClean="0"/>
              <a:t>34</a:t>
            </a:fld>
            <a:endParaRPr lang="fr-FR"/>
          </a:p>
        </p:txBody>
      </p:sp>
      <p:sp>
        <p:nvSpPr>
          <p:cNvPr id="4" name="Espace réservé du pied de page 3">
            <a:extLst>
              <a:ext uri="{FF2B5EF4-FFF2-40B4-BE49-F238E27FC236}">
                <a16:creationId xmlns:a16="http://schemas.microsoft.com/office/drawing/2014/main" id="{5C269F79-E072-995A-6A8E-CB95C9A324AE}"/>
              </a:ext>
            </a:extLst>
          </p:cNvPr>
          <p:cNvSpPr>
            <a:spLocks noGrp="1"/>
          </p:cNvSpPr>
          <p:nvPr>
            <p:ph type="ftr" sz="quarter" idx="11"/>
          </p:nvPr>
        </p:nvSpPr>
        <p:spPr/>
        <p:txBody>
          <a:bodyPr/>
          <a:lstStyle/>
          <a:p>
            <a:endParaRPr lang="fr-FR" dirty="0"/>
          </a:p>
        </p:txBody>
      </p:sp>
    </p:spTree>
    <p:extLst>
      <p:ext uri="{BB962C8B-B14F-4D97-AF65-F5344CB8AC3E}">
        <p14:creationId xmlns:p14="http://schemas.microsoft.com/office/powerpoint/2010/main" val="30192384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3F42D310-D391-AB7E-C5DB-204B8313C51C}"/>
              </a:ext>
            </a:extLst>
          </p:cNvPr>
          <p:cNvSpPr>
            <a:spLocks noGrp="1"/>
          </p:cNvSpPr>
          <p:nvPr>
            <p:ph idx="1"/>
          </p:nvPr>
        </p:nvSpPr>
        <p:spPr>
          <a:xfrm>
            <a:off x="5055477" y="685800"/>
            <a:ext cx="6450724" cy="5138161"/>
          </a:xfrm>
        </p:spPr>
        <p:txBody>
          <a:bodyPr/>
          <a:lstStyle/>
          <a:p>
            <a:endParaRPr lang="fr-FR" dirty="0"/>
          </a:p>
          <a:p>
            <a:r>
              <a:rPr lang="fr-FR" dirty="0"/>
              <a:t>Outre la peine et les troubles dans les conditions d’existence provoqués par l’atteinte corporelle ou le décès de la victime directe, il arrive que la victime par ricochet développe des réactions pathologiques comme un stress post-traumatique ou un état dépressif permanent.</a:t>
            </a:r>
          </a:p>
          <a:p>
            <a:r>
              <a:rPr lang="fr-FR" dirty="0"/>
              <a:t>La victime par ricochet présente alors un dommage corporel propre qui doit être considéré et indemnisé au même titre que celui d’une victime directe.</a:t>
            </a:r>
          </a:p>
          <a:p>
            <a:r>
              <a:rPr lang="fr-FR" dirty="0"/>
              <a:t>Dans ce cadre, il est fait renvoi à la nomenclature des postes de préjudice de la victime directe.</a:t>
            </a:r>
          </a:p>
          <a:p>
            <a:r>
              <a:rPr lang="fr-FR" dirty="0"/>
              <a:t>Le préjudice corporel propre de la victime par ricochet vient s’ajouter à ses préjudices relationnels.</a:t>
            </a:r>
          </a:p>
          <a:p>
            <a:r>
              <a:rPr lang="fr-FR" dirty="0">
                <a:solidFill>
                  <a:schemeClr val="accent1"/>
                </a:solidFill>
              </a:rPr>
              <a:t>cf. renvoi à la nomenclature des victimes directes</a:t>
            </a:r>
          </a:p>
        </p:txBody>
      </p:sp>
      <p:sp>
        <p:nvSpPr>
          <p:cNvPr id="3" name="Titre 2">
            <a:extLst>
              <a:ext uri="{FF2B5EF4-FFF2-40B4-BE49-F238E27FC236}">
                <a16:creationId xmlns:a16="http://schemas.microsoft.com/office/drawing/2014/main" id="{3F57B90B-7AD7-EDDA-79BB-791C9740A66A}"/>
              </a:ext>
            </a:extLst>
          </p:cNvPr>
          <p:cNvSpPr>
            <a:spLocks noGrp="1"/>
          </p:cNvSpPr>
          <p:nvPr>
            <p:ph type="title"/>
          </p:nvPr>
        </p:nvSpPr>
        <p:spPr>
          <a:xfrm>
            <a:off x="-31530" y="352426"/>
            <a:ext cx="3236815" cy="1308320"/>
          </a:xfrm>
        </p:spPr>
        <p:txBody>
          <a:bodyPr/>
          <a:lstStyle/>
          <a:p>
            <a:r>
              <a:rPr lang="fr-FR" sz="3200" dirty="0"/>
              <a:t>PREJUDICES CORPORELS DE LA VICTIME PAR RICOCHET </a:t>
            </a:r>
          </a:p>
        </p:txBody>
      </p:sp>
      <p:sp>
        <p:nvSpPr>
          <p:cNvPr id="4" name="Espace réservé du numéro de diapositive 3">
            <a:extLst>
              <a:ext uri="{FF2B5EF4-FFF2-40B4-BE49-F238E27FC236}">
                <a16:creationId xmlns:a16="http://schemas.microsoft.com/office/drawing/2014/main" id="{5DB06D97-56E1-9ED6-1347-FF8E23218EF8}"/>
              </a:ext>
            </a:extLst>
          </p:cNvPr>
          <p:cNvSpPr>
            <a:spLocks noGrp="1"/>
          </p:cNvSpPr>
          <p:nvPr>
            <p:ph type="sldNum" sz="quarter" idx="12"/>
          </p:nvPr>
        </p:nvSpPr>
        <p:spPr/>
        <p:txBody>
          <a:bodyPr/>
          <a:lstStyle/>
          <a:p>
            <a:fld id="{8415421A-8635-4166-92D2-5F6D44CB9F91}" type="slidenum">
              <a:rPr lang="fr-FR" smtClean="0"/>
              <a:t>35</a:t>
            </a:fld>
            <a:endParaRPr lang="fr-FR"/>
          </a:p>
        </p:txBody>
      </p:sp>
      <p:sp>
        <p:nvSpPr>
          <p:cNvPr id="5" name="Espace réservé du pied de page 4">
            <a:extLst>
              <a:ext uri="{FF2B5EF4-FFF2-40B4-BE49-F238E27FC236}">
                <a16:creationId xmlns:a16="http://schemas.microsoft.com/office/drawing/2014/main" id="{ADC95F05-6C27-C0F1-D937-640BACE70E84}"/>
              </a:ext>
            </a:extLst>
          </p:cNvPr>
          <p:cNvSpPr>
            <a:spLocks noGrp="1"/>
          </p:cNvSpPr>
          <p:nvPr>
            <p:ph type="ftr" sz="quarter" idx="11"/>
          </p:nvPr>
        </p:nvSpPr>
        <p:spPr/>
        <p:txBody>
          <a:bodyPr/>
          <a:lstStyle/>
          <a:p>
            <a:endParaRPr lang="fr-FR" dirty="0"/>
          </a:p>
        </p:txBody>
      </p:sp>
    </p:spTree>
    <p:extLst>
      <p:ext uri="{BB962C8B-B14F-4D97-AF65-F5344CB8AC3E}">
        <p14:creationId xmlns:p14="http://schemas.microsoft.com/office/powerpoint/2010/main" val="40739859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7A08504D-9A50-713D-DB63-C5E8478BB1A9}"/>
              </a:ext>
            </a:extLst>
          </p:cNvPr>
          <p:cNvSpPr>
            <a:spLocks noGrp="1"/>
          </p:cNvSpPr>
          <p:nvPr>
            <p:ph type="ctrTitle"/>
          </p:nvPr>
        </p:nvSpPr>
        <p:spPr/>
        <p:txBody>
          <a:bodyPr/>
          <a:lstStyle/>
          <a:p>
            <a:r>
              <a:rPr lang="fr-FR" dirty="0"/>
              <a:t>L’œil critique de Benoit MORNET </a:t>
            </a:r>
            <a:r>
              <a:rPr lang="fr-FR" sz="1800" dirty="0">
                <a:solidFill>
                  <a:schemeClr val="accent1">
                    <a:lumMod val="75000"/>
                  </a:schemeClr>
                </a:solidFill>
              </a:rPr>
              <a:t>BM</a:t>
            </a:r>
          </a:p>
        </p:txBody>
      </p:sp>
    </p:spTree>
    <p:extLst>
      <p:ext uri="{BB962C8B-B14F-4D97-AF65-F5344CB8AC3E}">
        <p14:creationId xmlns:p14="http://schemas.microsoft.com/office/powerpoint/2010/main" val="4006505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0FEF080-FE39-957F-D9B7-F0FB1D50B9A6}"/>
              </a:ext>
            </a:extLst>
          </p:cNvPr>
          <p:cNvSpPr>
            <a:spLocks noGrp="1"/>
          </p:cNvSpPr>
          <p:nvPr>
            <p:ph type="title"/>
          </p:nvPr>
        </p:nvSpPr>
        <p:spPr>
          <a:xfrm>
            <a:off x="838200" y="365126"/>
            <a:ext cx="9321800" cy="919221"/>
          </a:xfrm>
        </p:spPr>
        <p:txBody>
          <a:bodyPr/>
          <a:lstStyle/>
          <a:p>
            <a:r>
              <a:rPr lang="fr-FR" dirty="0"/>
              <a:t>1- La victime indirecte peut aussi avoir la qualité </a:t>
            </a:r>
            <a:br>
              <a:rPr lang="fr-FR" dirty="0"/>
            </a:br>
            <a:r>
              <a:rPr lang="fr-FR" dirty="0"/>
              <a:t>de victime directe</a:t>
            </a:r>
          </a:p>
        </p:txBody>
      </p:sp>
      <p:sp>
        <p:nvSpPr>
          <p:cNvPr id="3" name="Espace réservé du contenu 2">
            <a:extLst>
              <a:ext uri="{FF2B5EF4-FFF2-40B4-BE49-F238E27FC236}">
                <a16:creationId xmlns:a16="http://schemas.microsoft.com/office/drawing/2014/main" id="{2F03F8AE-AB33-CBD1-2DA8-C71C19A5AEBD}"/>
              </a:ext>
            </a:extLst>
          </p:cNvPr>
          <p:cNvSpPr>
            <a:spLocks noGrp="1"/>
          </p:cNvSpPr>
          <p:nvPr>
            <p:ph idx="1"/>
          </p:nvPr>
        </p:nvSpPr>
        <p:spPr>
          <a:xfrm>
            <a:off x="838200" y="1825625"/>
            <a:ext cx="10515600" cy="3978275"/>
          </a:xfrm>
        </p:spPr>
        <p:txBody>
          <a:bodyPr/>
          <a:lstStyle/>
          <a:p>
            <a:r>
              <a:rPr lang="fr-FR" dirty="0">
                <a:solidFill>
                  <a:schemeClr val="accent1"/>
                </a:solidFill>
              </a:rPr>
              <a:t>BM</a:t>
            </a:r>
          </a:p>
          <a:p>
            <a:r>
              <a:rPr lang="fr-FR" dirty="0"/>
              <a:t>Un proche peut être non seulement affecté par ricochet du dommage corporel de la victime directe, mais également atteint dans sa propre intégrité physique et ou psychique au titre d’une pathologie réactionnelle.</a:t>
            </a:r>
          </a:p>
          <a:p>
            <a:endParaRPr lang="fr-FR" dirty="0"/>
          </a:p>
          <a:p>
            <a:r>
              <a:rPr lang="fr-FR" dirty="0"/>
              <a:t>Un arrêt illustre parfaitement cette situation : </a:t>
            </a:r>
            <a:r>
              <a:rPr lang="fr-FR" b="1" dirty="0" err="1"/>
              <a:t>Civ</a:t>
            </a:r>
            <a:r>
              <a:rPr lang="fr-FR" b="1" dirty="0"/>
              <a:t>. 2, 23 m ars 2017, n° 16-13.350 </a:t>
            </a:r>
          </a:p>
          <a:p>
            <a:endParaRPr lang="fr-FR" dirty="0"/>
          </a:p>
        </p:txBody>
      </p:sp>
      <p:sp>
        <p:nvSpPr>
          <p:cNvPr id="5" name="Espace réservé du pied de page 4">
            <a:extLst>
              <a:ext uri="{FF2B5EF4-FFF2-40B4-BE49-F238E27FC236}">
                <a16:creationId xmlns:a16="http://schemas.microsoft.com/office/drawing/2014/main" id="{4EF6957D-796D-BF15-13B0-A1B305474CB7}"/>
              </a:ext>
            </a:extLst>
          </p:cNvPr>
          <p:cNvSpPr>
            <a:spLocks noGrp="1"/>
          </p:cNvSpPr>
          <p:nvPr>
            <p:ph type="ftr" sz="quarter" idx="11"/>
          </p:nvPr>
        </p:nvSpPr>
        <p:spPr>
          <a:xfrm>
            <a:off x="3774017" y="6247648"/>
            <a:ext cx="4643966" cy="365125"/>
          </a:xfrm>
        </p:spPr>
        <p:txBody>
          <a:bodyPr/>
          <a:lstStyle/>
          <a:p>
            <a:endParaRPr lang="fr-FR"/>
          </a:p>
        </p:txBody>
      </p:sp>
      <p:sp>
        <p:nvSpPr>
          <p:cNvPr id="4" name="Espace réservé du numéro de diapositive 3">
            <a:extLst>
              <a:ext uri="{FF2B5EF4-FFF2-40B4-BE49-F238E27FC236}">
                <a16:creationId xmlns:a16="http://schemas.microsoft.com/office/drawing/2014/main" id="{9DB93770-2DA7-8B76-F5B4-D77ECC71B938}"/>
              </a:ext>
            </a:extLst>
          </p:cNvPr>
          <p:cNvSpPr>
            <a:spLocks noGrp="1"/>
          </p:cNvSpPr>
          <p:nvPr>
            <p:ph type="sldNum" sz="quarter" idx="12"/>
          </p:nvPr>
        </p:nvSpPr>
        <p:spPr>
          <a:xfrm>
            <a:off x="11506200" y="85407"/>
            <a:ext cx="685800" cy="365125"/>
          </a:xfrm>
        </p:spPr>
        <p:txBody>
          <a:bodyPr/>
          <a:lstStyle/>
          <a:p>
            <a:fld id="{8415421A-8635-4166-92D2-5F6D44CB9F91}" type="slidenum">
              <a:rPr lang="fr-FR" smtClean="0"/>
              <a:pPr/>
              <a:t>4</a:t>
            </a:fld>
            <a:endParaRPr lang="fr-FR"/>
          </a:p>
        </p:txBody>
      </p:sp>
    </p:spTree>
    <p:extLst>
      <p:ext uri="{BB962C8B-B14F-4D97-AF65-F5344CB8AC3E}">
        <p14:creationId xmlns:p14="http://schemas.microsoft.com/office/powerpoint/2010/main" val="29856935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8984E09-BBAC-332C-CC9C-B09135097FA8}"/>
              </a:ext>
            </a:extLst>
          </p:cNvPr>
          <p:cNvSpPr>
            <a:spLocks noGrp="1"/>
          </p:cNvSpPr>
          <p:nvPr>
            <p:ph type="title"/>
          </p:nvPr>
        </p:nvSpPr>
        <p:spPr>
          <a:xfrm>
            <a:off x="838200" y="365126"/>
            <a:ext cx="9321800" cy="919221"/>
          </a:xfrm>
        </p:spPr>
        <p:txBody>
          <a:bodyPr/>
          <a:lstStyle/>
          <a:p>
            <a:r>
              <a:rPr lang="fr-FR" dirty="0"/>
              <a:t>2- Les victimes indirectes nées après le décès </a:t>
            </a:r>
            <a:br>
              <a:rPr lang="fr-FR" dirty="0"/>
            </a:br>
            <a:r>
              <a:rPr lang="fr-FR" dirty="0"/>
              <a:t>de la victime directe</a:t>
            </a:r>
          </a:p>
        </p:txBody>
      </p:sp>
      <p:sp>
        <p:nvSpPr>
          <p:cNvPr id="3" name="Espace réservé du contenu 2">
            <a:extLst>
              <a:ext uri="{FF2B5EF4-FFF2-40B4-BE49-F238E27FC236}">
                <a16:creationId xmlns:a16="http://schemas.microsoft.com/office/drawing/2014/main" id="{53A28CAA-9D94-A8C4-2102-A3B752DD5F8C}"/>
              </a:ext>
            </a:extLst>
          </p:cNvPr>
          <p:cNvSpPr>
            <a:spLocks noGrp="1"/>
          </p:cNvSpPr>
          <p:nvPr>
            <p:ph idx="1"/>
          </p:nvPr>
        </p:nvSpPr>
        <p:spPr>
          <a:xfrm>
            <a:off x="838200" y="1825625"/>
            <a:ext cx="10515600" cy="3978275"/>
          </a:xfrm>
        </p:spPr>
        <p:txBody>
          <a:bodyPr/>
          <a:lstStyle/>
          <a:p>
            <a:r>
              <a:rPr lang="fr-FR" dirty="0">
                <a:solidFill>
                  <a:schemeClr val="accent1"/>
                </a:solidFill>
              </a:rPr>
              <a:t>BM</a:t>
            </a:r>
          </a:p>
          <a:p>
            <a:endParaRPr lang="pt-BR" dirty="0"/>
          </a:p>
          <a:p>
            <a:r>
              <a:rPr lang="pt-BR" dirty="0"/>
              <a:t>L’enfant conçu peut subir un préjudice d’affection en raison du décès avant sa naisssance, mais après sa conception :</a:t>
            </a:r>
          </a:p>
          <a:p>
            <a:pPr lvl="1"/>
            <a:r>
              <a:rPr lang="pt-BR" dirty="0"/>
              <a:t>De son père : 2ème  Civ.,14 décembre. 2017, n° 16-26.687 Bull. II, n° 235 </a:t>
            </a:r>
          </a:p>
          <a:p>
            <a:pPr>
              <a:tabLst>
                <a:tab pos="1573213" algn="l"/>
              </a:tabLst>
            </a:pPr>
            <a:r>
              <a:rPr lang="pt-BR" dirty="0"/>
              <a:t>	Crim. 10 novembre. 2020, n° 19-87.136 </a:t>
            </a:r>
          </a:p>
          <a:p>
            <a:pPr lvl="1"/>
            <a:r>
              <a:rPr lang="pt-BR" dirty="0"/>
              <a:t>De son grand-père :  2ème Civ., 11 février. 2021, n° 19-23.525</a:t>
            </a:r>
          </a:p>
          <a:p>
            <a:r>
              <a:rPr lang="fr-FR" dirty="0"/>
              <a:t>Mais pas d’indemnisation si le décès est survenu avant la conception : 2</a:t>
            </a:r>
            <a:r>
              <a:rPr lang="fr-FR" baseline="30000" dirty="0"/>
              <a:t>ème</a:t>
            </a:r>
            <a:r>
              <a:rPr lang="fr-FR" dirty="0"/>
              <a:t> Civ.,11 mars 2021, n° 19-17.384, publié </a:t>
            </a:r>
            <a:endParaRPr lang="pt-BR" dirty="0"/>
          </a:p>
        </p:txBody>
      </p:sp>
      <p:sp>
        <p:nvSpPr>
          <p:cNvPr id="5" name="Espace réservé du pied de page 4">
            <a:extLst>
              <a:ext uri="{FF2B5EF4-FFF2-40B4-BE49-F238E27FC236}">
                <a16:creationId xmlns:a16="http://schemas.microsoft.com/office/drawing/2014/main" id="{972956DB-333A-C92F-5958-11C59D7C7105}"/>
              </a:ext>
            </a:extLst>
          </p:cNvPr>
          <p:cNvSpPr>
            <a:spLocks noGrp="1"/>
          </p:cNvSpPr>
          <p:nvPr>
            <p:ph type="ftr" sz="quarter" idx="11"/>
          </p:nvPr>
        </p:nvSpPr>
        <p:spPr>
          <a:xfrm>
            <a:off x="3774017" y="6247648"/>
            <a:ext cx="4643966" cy="365125"/>
          </a:xfrm>
        </p:spPr>
        <p:txBody>
          <a:bodyPr/>
          <a:lstStyle/>
          <a:p>
            <a:endParaRPr lang="fr-FR"/>
          </a:p>
        </p:txBody>
      </p:sp>
      <p:sp>
        <p:nvSpPr>
          <p:cNvPr id="4" name="Espace réservé du numéro de diapositive 3">
            <a:extLst>
              <a:ext uri="{FF2B5EF4-FFF2-40B4-BE49-F238E27FC236}">
                <a16:creationId xmlns:a16="http://schemas.microsoft.com/office/drawing/2014/main" id="{6B8C6FD1-0206-372B-8BD4-053D676D16CF}"/>
              </a:ext>
            </a:extLst>
          </p:cNvPr>
          <p:cNvSpPr>
            <a:spLocks noGrp="1"/>
          </p:cNvSpPr>
          <p:nvPr>
            <p:ph type="sldNum" sz="quarter" idx="12"/>
          </p:nvPr>
        </p:nvSpPr>
        <p:spPr>
          <a:xfrm>
            <a:off x="11506200" y="85407"/>
            <a:ext cx="685800" cy="365125"/>
          </a:xfrm>
        </p:spPr>
        <p:txBody>
          <a:bodyPr/>
          <a:lstStyle/>
          <a:p>
            <a:fld id="{8415421A-8635-4166-92D2-5F6D44CB9F91}" type="slidenum">
              <a:rPr lang="fr-FR" smtClean="0"/>
              <a:pPr/>
              <a:t>5</a:t>
            </a:fld>
            <a:endParaRPr lang="fr-FR"/>
          </a:p>
        </p:txBody>
      </p:sp>
    </p:spTree>
    <p:extLst>
      <p:ext uri="{BB962C8B-B14F-4D97-AF65-F5344CB8AC3E}">
        <p14:creationId xmlns:p14="http://schemas.microsoft.com/office/powerpoint/2010/main" val="7295426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275A0E0-2CED-047B-39AD-E52C21289B04}"/>
              </a:ext>
            </a:extLst>
          </p:cNvPr>
          <p:cNvSpPr>
            <a:spLocks noGrp="1"/>
          </p:cNvSpPr>
          <p:nvPr>
            <p:ph type="title"/>
          </p:nvPr>
        </p:nvSpPr>
        <p:spPr>
          <a:xfrm>
            <a:off x="838200" y="365126"/>
            <a:ext cx="9321800" cy="919221"/>
          </a:xfrm>
        </p:spPr>
        <p:txBody>
          <a:bodyPr/>
          <a:lstStyle/>
          <a:p>
            <a:r>
              <a:rPr lang="fr-FR" dirty="0"/>
              <a:t>3- Le préjudice d’angoisse des proches</a:t>
            </a:r>
          </a:p>
        </p:txBody>
      </p:sp>
      <p:sp>
        <p:nvSpPr>
          <p:cNvPr id="3" name="Espace réservé du contenu 2">
            <a:extLst>
              <a:ext uri="{FF2B5EF4-FFF2-40B4-BE49-F238E27FC236}">
                <a16:creationId xmlns:a16="http://schemas.microsoft.com/office/drawing/2014/main" id="{E17A502F-EEA3-906D-22E3-712EA50E0F89}"/>
              </a:ext>
            </a:extLst>
          </p:cNvPr>
          <p:cNvSpPr>
            <a:spLocks noGrp="1"/>
          </p:cNvSpPr>
          <p:nvPr>
            <p:ph idx="1"/>
          </p:nvPr>
        </p:nvSpPr>
        <p:spPr>
          <a:xfrm>
            <a:off x="838200" y="1825625"/>
            <a:ext cx="10515600" cy="3978275"/>
          </a:xfrm>
        </p:spPr>
        <p:txBody>
          <a:bodyPr/>
          <a:lstStyle/>
          <a:p>
            <a:r>
              <a:rPr lang="fr-FR" dirty="0">
                <a:solidFill>
                  <a:schemeClr val="accent1"/>
                </a:solidFill>
              </a:rPr>
              <a:t>BM</a:t>
            </a:r>
          </a:p>
          <a:p>
            <a:endParaRPr lang="fr-FR" dirty="0"/>
          </a:p>
          <a:p>
            <a:pPr lvl="1"/>
            <a:r>
              <a:rPr lang="fr-FR" dirty="0"/>
              <a:t>TJ Paris, JIVAT, 12 décembre 2019, n° 18-07.334</a:t>
            </a:r>
          </a:p>
          <a:p>
            <a:pPr lvl="1"/>
            <a:endParaRPr lang="fr-FR" dirty="0"/>
          </a:p>
          <a:p>
            <a:pPr lvl="1"/>
            <a:r>
              <a:rPr lang="fr-FR" dirty="0"/>
              <a:t>Chambre mixte, 25 mars 2022, pourvoi n° 20-17.072</a:t>
            </a:r>
          </a:p>
        </p:txBody>
      </p:sp>
      <p:sp>
        <p:nvSpPr>
          <p:cNvPr id="5" name="Espace réservé du pied de page 4">
            <a:extLst>
              <a:ext uri="{FF2B5EF4-FFF2-40B4-BE49-F238E27FC236}">
                <a16:creationId xmlns:a16="http://schemas.microsoft.com/office/drawing/2014/main" id="{E0AB0163-C01D-30A4-7A7C-3905FA88EBBC}"/>
              </a:ext>
            </a:extLst>
          </p:cNvPr>
          <p:cNvSpPr>
            <a:spLocks noGrp="1"/>
          </p:cNvSpPr>
          <p:nvPr>
            <p:ph type="ftr" sz="quarter" idx="11"/>
          </p:nvPr>
        </p:nvSpPr>
        <p:spPr>
          <a:xfrm>
            <a:off x="3774017" y="6247648"/>
            <a:ext cx="4643966" cy="365125"/>
          </a:xfrm>
        </p:spPr>
        <p:txBody>
          <a:bodyPr/>
          <a:lstStyle/>
          <a:p>
            <a:endParaRPr lang="fr-FR"/>
          </a:p>
        </p:txBody>
      </p:sp>
      <p:sp>
        <p:nvSpPr>
          <p:cNvPr id="4" name="Espace réservé du numéro de diapositive 3">
            <a:extLst>
              <a:ext uri="{FF2B5EF4-FFF2-40B4-BE49-F238E27FC236}">
                <a16:creationId xmlns:a16="http://schemas.microsoft.com/office/drawing/2014/main" id="{B2D89E62-A624-4CB6-2908-7A4BC52DDDA8}"/>
              </a:ext>
            </a:extLst>
          </p:cNvPr>
          <p:cNvSpPr>
            <a:spLocks noGrp="1"/>
          </p:cNvSpPr>
          <p:nvPr>
            <p:ph type="sldNum" sz="quarter" idx="12"/>
          </p:nvPr>
        </p:nvSpPr>
        <p:spPr>
          <a:xfrm>
            <a:off x="11506200" y="85407"/>
            <a:ext cx="685800" cy="365125"/>
          </a:xfrm>
        </p:spPr>
        <p:txBody>
          <a:bodyPr/>
          <a:lstStyle/>
          <a:p>
            <a:fld id="{8415421A-8635-4166-92D2-5F6D44CB9F91}" type="slidenum">
              <a:rPr lang="fr-FR" smtClean="0"/>
              <a:pPr/>
              <a:t>6</a:t>
            </a:fld>
            <a:endParaRPr lang="fr-FR"/>
          </a:p>
        </p:txBody>
      </p:sp>
    </p:spTree>
    <p:extLst>
      <p:ext uri="{BB962C8B-B14F-4D97-AF65-F5344CB8AC3E}">
        <p14:creationId xmlns:p14="http://schemas.microsoft.com/office/powerpoint/2010/main" val="25629489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9231FEB-588F-F53A-7545-A99899A085E7}"/>
              </a:ext>
            </a:extLst>
          </p:cNvPr>
          <p:cNvSpPr>
            <a:spLocks noGrp="1"/>
          </p:cNvSpPr>
          <p:nvPr>
            <p:ph type="title"/>
          </p:nvPr>
        </p:nvSpPr>
        <p:spPr>
          <a:xfrm>
            <a:off x="838200" y="365126"/>
            <a:ext cx="9321800" cy="919221"/>
          </a:xfrm>
        </p:spPr>
        <p:txBody>
          <a:bodyPr/>
          <a:lstStyle/>
          <a:p>
            <a:r>
              <a:rPr lang="fr-FR" dirty="0"/>
              <a:t>4- Le préjudice économique des proches en cas </a:t>
            </a:r>
            <a:br>
              <a:rPr lang="fr-FR" dirty="0"/>
            </a:br>
            <a:r>
              <a:rPr lang="fr-FR" dirty="0"/>
              <a:t>de décès</a:t>
            </a:r>
          </a:p>
        </p:txBody>
      </p:sp>
      <p:sp>
        <p:nvSpPr>
          <p:cNvPr id="3" name="Espace réservé du contenu 2">
            <a:extLst>
              <a:ext uri="{FF2B5EF4-FFF2-40B4-BE49-F238E27FC236}">
                <a16:creationId xmlns:a16="http://schemas.microsoft.com/office/drawing/2014/main" id="{77A33F45-9068-2A46-ACB1-B3BD70C754C0}"/>
              </a:ext>
            </a:extLst>
          </p:cNvPr>
          <p:cNvSpPr>
            <a:spLocks noGrp="1"/>
          </p:cNvSpPr>
          <p:nvPr>
            <p:ph idx="1"/>
          </p:nvPr>
        </p:nvSpPr>
        <p:spPr>
          <a:xfrm>
            <a:off x="838200" y="1825625"/>
            <a:ext cx="10515600" cy="3978275"/>
          </a:xfrm>
        </p:spPr>
        <p:txBody>
          <a:bodyPr/>
          <a:lstStyle/>
          <a:p>
            <a:r>
              <a:rPr lang="fr-FR" dirty="0">
                <a:solidFill>
                  <a:schemeClr val="accent1"/>
                </a:solidFill>
              </a:rPr>
              <a:t>BM</a:t>
            </a:r>
          </a:p>
          <a:p>
            <a:endParaRPr lang="fr-FR" dirty="0"/>
          </a:p>
          <a:p>
            <a:pPr lvl="1"/>
            <a:r>
              <a:rPr lang="fr-FR" dirty="0"/>
              <a:t>Non prise en compte des revenus du nouveau conjoint : 1re </a:t>
            </a:r>
            <a:r>
              <a:rPr lang="fr-FR" dirty="0" err="1"/>
              <a:t>Civ</a:t>
            </a:r>
            <a:r>
              <a:rPr lang="fr-FR" dirty="0"/>
              <a:t>., 7 octobre. 2020, n° 19-17.041, publié </a:t>
            </a:r>
          </a:p>
          <a:p>
            <a:endParaRPr lang="fr-FR" dirty="0"/>
          </a:p>
          <a:p>
            <a:pPr lvl="1"/>
            <a:r>
              <a:rPr lang="fr-FR" dirty="0"/>
              <a:t>prises en compte dans le revenu annuel des prestations versées avant le décès :</a:t>
            </a:r>
          </a:p>
          <a:p>
            <a:pPr lvl="2"/>
            <a:r>
              <a:rPr lang="fr-FR" dirty="0"/>
              <a:t>AAH : 2e </a:t>
            </a:r>
            <a:r>
              <a:rPr lang="fr-FR" dirty="0" err="1"/>
              <a:t>Civ</a:t>
            </a:r>
            <a:r>
              <a:rPr lang="fr-FR" dirty="0"/>
              <a:t>., 24 octobre 2019, n° 18-14.211, publié), </a:t>
            </a:r>
          </a:p>
          <a:p>
            <a:pPr lvl="2"/>
            <a:r>
              <a:rPr lang="fr-FR" dirty="0"/>
              <a:t>la PCH : 2e </a:t>
            </a:r>
            <a:r>
              <a:rPr lang="fr-FR" dirty="0" err="1"/>
              <a:t>Civ</a:t>
            </a:r>
            <a:r>
              <a:rPr lang="fr-FR" dirty="0"/>
              <a:t>., 16 juin 2022, n° 20-20.270, publié</a:t>
            </a:r>
          </a:p>
          <a:p>
            <a:pPr lvl="2"/>
            <a:r>
              <a:rPr lang="fr-FR" dirty="0"/>
              <a:t>la rente accident du travail : 2e </a:t>
            </a:r>
            <a:r>
              <a:rPr lang="fr-FR" dirty="0" err="1"/>
              <a:t>Civ</a:t>
            </a:r>
            <a:r>
              <a:rPr lang="fr-FR" dirty="0"/>
              <a:t>., 30 mars 2023, n° 21-22.961, publié.</a:t>
            </a:r>
          </a:p>
        </p:txBody>
      </p:sp>
      <p:sp>
        <p:nvSpPr>
          <p:cNvPr id="5" name="Espace réservé du pied de page 4">
            <a:extLst>
              <a:ext uri="{FF2B5EF4-FFF2-40B4-BE49-F238E27FC236}">
                <a16:creationId xmlns:a16="http://schemas.microsoft.com/office/drawing/2014/main" id="{5C9BFDE0-1C5D-A197-8C91-D764518A0489}"/>
              </a:ext>
            </a:extLst>
          </p:cNvPr>
          <p:cNvSpPr>
            <a:spLocks noGrp="1"/>
          </p:cNvSpPr>
          <p:nvPr>
            <p:ph type="ftr" sz="quarter" idx="11"/>
          </p:nvPr>
        </p:nvSpPr>
        <p:spPr>
          <a:xfrm>
            <a:off x="3774017" y="6247648"/>
            <a:ext cx="4643966" cy="365125"/>
          </a:xfrm>
        </p:spPr>
        <p:txBody>
          <a:bodyPr/>
          <a:lstStyle/>
          <a:p>
            <a:endParaRPr lang="fr-FR"/>
          </a:p>
        </p:txBody>
      </p:sp>
      <p:sp>
        <p:nvSpPr>
          <p:cNvPr id="4" name="Espace réservé du numéro de diapositive 3">
            <a:extLst>
              <a:ext uri="{FF2B5EF4-FFF2-40B4-BE49-F238E27FC236}">
                <a16:creationId xmlns:a16="http://schemas.microsoft.com/office/drawing/2014/main" id="{19AA9FEB-B86F-6058-B611-3233D4F445BD}"/>
              </a:ext>
            </a:extLst>
          </p:cNvPr>
          <p:cNvSpPr>
            <a:spLocks noGrp="1"/>
          </p:cNvSpPr>
          <p:nvPr>
            <p:ph type="sldNum" sz="quarter" idx="12"/>
          </p:nvPr>
        </p:nvSpPr>
        <p:spPr>
          <a:xfrm>
            <a:off x="11506200" y="85407"/>
            <a:ext cx="685800" cy="365125"/>
          </a:xfrm>
        </p:spPr>
        <p:txBody>
          <a:bodyPr/>
          <a:lstStyle/>
          <a:p>
            <a:fld id="{8415421A-8635-4166-92D2-5F6D44CB9F91}" type="slidenum">
              <a:rPr lang="fr-FR" smtClean="0"/>
              <a:pPr/>
              <a:t>7</a:t>
            </a:fld>
            <a:endParaRPr lang="fr-FR"/>
          </a:p>
        </p:txBody>
      </p:sp>
    </p:spTree>
    <p:extLst>
      <p:ext uri="{BB962C8B-B14F-4D97-AF65-F5344CB8AC3E}">
        <p14:creationId xmlns:p14="http://schemas.microsoft.com/office/powerpoint/2010/main" val="34937519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A9DE8E5-369E-FD39-2CF2-0C6985BB750C}"/>
              </a:ext>
            </a:extLst>
          </p:cNvPr>
          <p:cNvSpPr>
            <a:spLocks noGrp="1"/>
          </p:cNvSpPr>
          <p:nvPr>
            <p:ph type="title"/>
          </p:nvPr>
        </p:nvSpPr>
        <p:spPr>
          <a:xfrm>
            <a:off x="838200" y="365126"/>
            <a:ext cx="9321800" cy="919221"/>
          </a:xfrm>
        </p:spPr>
        <p:txBody>
          <a:bodyPr/>
          <a:lstStyle/>
          <a:p>
            <a:r>
              <a:rPr lang="fr-FR" dirty="0"/>
              <a:t>Le préjudice économique des proches en cas de décès</a:t>
            </a:r>
          </a:p>
        </p:txBody>
      </p:sp>
      <p:sp>
        <p:nvSpPr>
          <p:cNvPr id="3" name="Espace réservé du contenu 2">
            <a:extLst>
              <a:ext uri="{FF2B5EF4-FFF2-40B4-BE49-F238E27FC236}">
                <a16:creationId xmlns:a16="http://schemas.microsoft.com/office/drawing/2014/main" id="{85A341D2-C06B-D8A4-C69D-0A039A32E31D}"/>
              </a:ext>
            </a:extLst>
          </p:cNvPr>
          <p:cNvSpPr>
            <a:spLocks noGrp="1"/>
          </p:cNvSpPr>
          <p:nvPr>
            <p:ph idx="1"/>
          </p:nvPr>
        </p:nvSpPr>
        <p:spPr>
          <a:xfrm>
            <a:off x="838200" y="1825625"/>
            <a:ext cx="10515600" cy="3978275"/>
          </a:xfrm>
        </p:spPr>
        <p:txBody>
          <a:bodyPr/>
          <a:lstStyle/>
          <a:p>
            <a:r>
              <a:rPr lang="fr-FR" dirty="0">
                <a:solidFill>
                  <a:schemeClr val="accent1"/>
                </a:solidFill>
              </a:rPr>
              <a:t>BM</a:t>
            </a:r>
          </a:p>
          <a:p>
            <a:endParaRPr lang="fr-FR" dirty="0"/>
          </a:p>
          <a:p>
            <a:pPr lvl="1"/>
            <a:r>
              <a:rPr lang="fr-FR" dirty="0"/>
              <a:t>Le revenu annuel du foyer n'intègre pas les prestations versées après le décès ouvrant droit à un recours subrogatoire :</a:t>
            </a:r>
          </a:p>
          <a:p>
            <a:endParaRPr lang="fr-FR" dirty="0"/>
          </a:p>
          <a:p>
            <a:pPr lvl="2"/>
            <a:r>
              <a:rPr lang="fr-FR" dirty="0"/>
              <a:t>la pension temporaire d’orphelin doit être imputée sur le poste du 	préjudice économique de chacun des bénéficiaires de prestations (2e </a:t>
            </a:r>
            <a:r>
              <a:rPr lang="fr-FR" dirty="0" err="1"/>
              <a:t>Civ</a:t>
            </a:r>
            <a:r>
              <a:rPr lang="fr-FR" dirty="0"/>
              <a:t>., 3 mai 2018, n°16-24.099, 16-25.476,Bull. II, n° 87</a:t>
            </a:r>
          </a:p>
          <a:p>
            <a:pPr lvl="2"/>
            <a:r>
              <a:rPr lang="fr-FR" dirty="0"/>
              <a:t>même si, dans le cas où l’indemnisation étant mise à la charge de l’</a:t>
            </a:r>
            <a:r>
              <a:rPr lang="fr-FR" dirty="0" err="1"/>
              <a:t>Oniam</a:t>
            </a:r>
            <a:r>
              <a:rPr lang="fr-FR" dirty="0"/>
              <a:t>: 1re </a:t>
            </a:r>
            <a:r>
              <a:rPr lang="fr-FR" dirty="0" err="1"/>
              <a:t>Civ</a:t>
            </a:r>
            <a:r>
              <a:rPr lang="fr-FR" dirty="0"/>
              <a:t>., 14 mai 2025, n° 23-23.499, publié</a:t>
            </a:r>
          </a:p>
          <a:p>
            <a:endParaRPr lang="fr-FR" dirty="0"/>
          </a:p>
        </p:txBody>
      </p:sp>
      <p:sp>
        <p:nvSpPr>
          <p:cNvPr id="5" name="Espace réservé du pied de page 4">
            <a:extLst>
              <a:ext uri="{FF2B5EF4-FFF2-40B4-BE49-F238E27FC236}">
                <a16:creationId xmlns:a16="http://schemas.microsoft.com/office/drawing/2014/main" id="{7280A91B-7F5A-3703-F134-2C3C04A34A3E}"/>
              </a:ext>
            </a:extLst>
          </p:cNvPr>
          <p:cNvSpPr>
            <a:spLocks noGrp="1"/>
          </p:cNvSpPr>
          <p:nvPr>
            <p:ph type="ftr" sz="quarter" idx="11"/>
          </p:nvPr>
        </p:nvSpPr>
        <p:spPr>
          <a:xfrm>
            <a:off x="3774017" y="6247648"/>
            <a:ext cx="4643966" cy="365125"/>
          </a:xfrm>
        </p:spPr>
        <p:txBody>
          <a:bodyPr/>
          <a:lstStyle/>
          <a:p>
            <a:endParaRPr lang="fr-FR"/>
          </a:p>
        </p:txBody>
      </p:sp>
      <p:sp>
        <p:nvSpPr>
          <p:cNvPr id="4" name="Espace réservé du numéro de diapositive 3">
            <a:extLst>
              <a:ext uri="{FF2B5EF4-FFF2-40B4-BE49-F238E27FC236}">
                <a16:creationId xmlns:a16="http://schemas.microsoft.com/office/drawing/2014/main" id="{38A7F5FB-8983-EAC6-306A-279FC659ACA7}"/>
              </a:ext>
            </a:extLst>
          </p:cNvPr>
          <p:cNvSpPr>
            <a:spLocks noGrp="1"/>
          </p:cNvSpPr>
          <p:nvPr>
            <p:ph type="sldNum" sz="quarter" idx="12"/>
          </p:nvPr>
        </p:nvSpPr>
        <p:spPr>
          <a:xfrm>
            <a:off x="11506200" y="85407"/>
            <a:ext cx="685800" cy="365125"/>
          </a:xfrm>
        </p:spPr>
        <p:txBody>
          <a:bodyPr/>
          <a:lstStyle/>
          <a:p>
            <a:fld id="{8415421A-8635-4166-92D2-5F6D44CB9F91}" type="slidenum">
              <a:rPr lang="fr-FR" smtClean="0"/>
              <a:pPr/>
              <a:t>8</a:t>
            </a:fld>
            <a:endParaRPr lang="fr-FR"/>
          </a:p>
        </p:txBody>
      </p:sp>
    </p:spTree>
    <p:extLst>
      <p:ext uri="{BB962C8B-B14F-4D97-AF65-F5344CB8AC3E}">
        <p14:creationId xmlns:p14="http://schemas.microsoft.com/office/powerpoint/2010/main" val="28224705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8245DF-8C13-6E67-A398-D43120B7A61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D5695AC-80AB-9DE4-01A4-A001B4ED3FA8}"/>
              </a:ext>
            </a:extLst>
          </p:cNvPr>
          <p:cNvSpPr>
            <a:spLocks noGrp="1"/>
          </p:cNvSpPr>
          <p:nvPr>
            <p:ph type="ctrTitle"/>
          </p:nvPr>
        </p:nvSpPr>
        <p:spPr>
          <a:xfrm>
            <a:off x="756745" y="1026695"/>
            <a:ext cx="5339255" cy="4892842"/>
          </a:xfrm>
        </p:spPr>
        <p:txBody>
          <a:bodyPr/>
          <a:lstStyle/>
          <a:p>
            <a:r>
              <a:rPr lang="fr-FR" sz="3600" dirty="0"/>
              <a:t>Titre 2 </a:t>
            </a:r>
            <a:br>
              <a:rPr lang="fr-FR" sz="3600" dirty="0"/>
            </a:br>
            <a:r>
              <a:rPr lang="fr-FR" sz="3600" dirty="0"/>
              <a:t>Perspectives : propositions pour une nouvelle nomenclature des préjudices des victimes par ricochet</a:t>
            </a:r>
            <a:br>
              <a:rPr lang="fr-FR" sz="3600" dirty="0"/>
            </a:br>
            <a:br>
              <a:rPr lang="fr-FR" sz="3600" dirty="0"/>
            </a:br>
            <a:r>
              <a:rPr lang="fr-FR" sz="3200" b="0" dirty="0">
                <a:latin typeface="+mn-lt"/>
              </a:rPr>
              <a:t>Par Laurence CLERC RENAUD et Marie MESCAM</a:t>
            </a:r>
            <a:br>
              <a:rPr lang="fr-FR" sz="2800" b="0" dirty="0">
                <a:latin typeface="+mn-lt"/>
              </a:rPr>
            </a:br>
            <a:br>
              <a:rPr lang="fr-FR" sz="3600" dirty="0"/>
            </a:br>
            <a:endParaRPr lang="fr-FR" sz="3600" dirty="0"/>
          </a:p>
        </p:txBody>
      </p:sp>
    </p:spTree>
    <p:extLst>
      <p:ext uri="{BB962C8B-B14F-4D97-AF65-F5344CB8AC3E}">
        <p14:creationId xmlns:p14="http://schemas.microsoft.com/office/powerpoint/2010/main" val="437708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1u0TT1dsXNEiG7+CHEP/CwEAAAAAAADAAAAAAADAAAAAwADAAEA////////BQAAAAMAEAALFuiWoMrtVE2OM6L8jf8kMwQAAAABAAMAAAACAAMAAAAEAAQAAQD///////8FAAAABAAQAAsDljbii0uPRoLwAnlQ11E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W7RNPV2xc0SIbv4IcQ/8LANEYXRhABsAAAAETGlua2VkU2hhcGVEYXRhAAUAAAAAAAJOYW1lABkAAABMaW5rZWRTaGFwZXNEYXRhUHJvcGVydHkAEFZlcnNpb24AAAAAAAlMYXN0V3JpdGUAuT90E5kBAAAAAQD/////xgDGAAAABV9pZAAQAAAABBbolqDK7VRNjjOi/I3/JDMDRGF0YQBTAAAACFByZXNlbnRhdGlvblNjYW5uZWRGb3JMaW5rZWRTaGFwZXMAAAJOdW1iZXJGb3JtYXRTZXBhcmF0b3JNb2RlAAoAAABBdXRvbWF0aWMAAAJOYW1lACQAAABMaW5rZWRTaGFwZVByZXNlbnRhdGlvblNldHRpbmdzRGF0YQAQVmVyc2lvbgAAAAAACUxhc3RXcml0ZQDbP3QTmQEAAAACAP////+DAIMAAAAFX2lkABAAAAAEA5Y24otLj0aC8AJ5UNdROQNEYXRhABsAAAAETGlua2VkU2hhcGVEYXRhAAUAAAAAAAJOYW1lABkAAABMaW5rZWRTaGFwZXNEYXRhUHJvcGVydHkAEFZlcnNpb24AAQAAAAlMYXN0V3JpdGUA2z90E5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DAP///////////////////////////////////////////////////////////////////////////////////////////////////////////////////////////////////////////////////////////////////////////////////////////////////////////////////////////////////////////////////////////////////////////////////////////////////////////////////////////////////////////////////////////////////////////////////////////////////////////////////////////////////////////////////////////////////////////////////////////////////////////////wEAIAH///////////////8AAA7///////8FAAAABAD///////////////////////////////////////////////////////////////////////////////////////////////////////////////////////////////////////////////////////////////////////////////////////////////////////////////////////////////////////////////////////////////////////////////////////////////////////////////////////////////////////////////////////////////////////////////////////////////////////////////////////////////////////////////////////////////////////////////////////////////////////////////////////8CAAEBAwAAAAIA////////GgAGTGlua2VkU2hhcGVzRGF0YVByb3BlcnR5XzAEAAAAAAAFAAAAAwAFAAAABAADAAEBAwAAAAMA////////JQAGTGlua2VkU2hhcGVQcmVzZW50YXRpb25TZXR0aW5nc0RhdGFfMAQAAAABAAUAAAAAAAUAAAACAAQAAQEDAAAABAD///////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25648098279675"/>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wUA8gsAAAAAAAAAAAAAIAD///////////////8AAAD///////////////8DAAAABAD///////8DAAAABAD///////8DAAAABAD///////////////////////////////////////////////////////////////////////////////////////////////////////////////////////////////////////////////////////////////////////////////////////////////////////////////////////////////////////////////////////////////////////////////////////////////////////////////////////////////////////////////////////////////////////////////////////////////////////////////////////////////////////////////////////////////////////////////8BACAA////////////////AAAO////////AwAAAAMA////////////////////////////////////////////////////////////////////////////////////////////////////////////////////////////////////////////////////////////////////////////////////////////////////////////////////////////////////////////////////////////////////////////////////////////////////////////////////////////////////////////////////////////////////////////////////////////////////////////////////////////////////////////////////////////////////////////////////////////////////////////////////////AgACAP///////wUAAAACABAAC/vKZ9Y9M4NEnnUZw+H/lwkEAAAAAAADAAAABAADAAAAAwADAAAABAD///////8DAAEA////////BQAAAAMAEAALPSuA9ElMXEeLAh+RCsqVAgQAAAABAAMAAAACAAMAAAABAAQAAwD///////8FAAAABAAQAAvdUX4MP4FvSLZNgp1vdAhoBA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pn1j0zg0SedRnD4f+XCQREYXRhAAUAAAAAAk5hbWUADQAAAExpbmtEYXRhTGlzdAAQVmVyc2lvbgAAAAAACUxhc3RXcml0ZQAENUcZmQEAAAABAP////9hAGEAAAAFX2lkABAAAAAEPSuA9ElMXEeLAh+RCsqVAgREYXRhAAUAAAAAAk5hbWUADQAAAExpbmtEYXRhTGlzdAAQVmVyc2lvbgABAAAACUxhc3RXcml0ZQAcNUcZmQEAAAACAP////9wAHAAAAAFX2lkABAAAAAE3VF+DD+Bb0i2TYKdb3QIaANEYXRhABYAAAACUGVyc29uYWxJZAABAAAAAAACTmFtZQALAAAAUGVyc29uYWxJZAAQVmVyc2lvbgAAAAAACUxhc3RXcml0ZQBiNU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EAP///////wUAAAAEAP///////////////////////////////////////////////////////////////////////////////////////////////////////////////////////////////////////////////////////////////////////////////////////////////////////////////////////////////////////////////////////////////////////////////////////////////////////////////////////////////////////////////////////////////////////////////////////////////////////////////////////////////////////////////wEAIAH///////////////8AAA7///////8FAAAABAD///////////////////////////////////////////////////////////////////////////////////////////////////////////////////////////////////////////////////////////////////////////////////////////////////////////////////////////////////////////////////////////////////////////////////////////////////////////////////////////////////////////////////////////////////////////////////////////////////////////////////////////////////////////////////////////////////////////////////////////////////////////////////////8CAAEBAwAAAAIA////////DgAGTGlua0RhdGFMaXN0XzAEAAAAAAAFAAAAAAAFAAAAAwADAAMBAwAAAAMA////////DgAGTGlua0RhdGFMaXN0XzEEAAAAAQAFAAAAAgAFAAAABAAFAAAAAAAFAAAABAAFAAAAAAAFAAAABAAEAAUBAwAAAAQA////////DAAGUGVyc29uYWxJZF8wBAAAAAIABQAAAAMABQAAAAE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2040508"/>
  <p:tag name="EMPOWERCHARTSPROPERTIES_B_LENGTH" val="24576"/>
  <p:tag name="DOWN_MIGRATION_INITIAL_LAYOUT_REQUIRED" val="9.2.99"/>
  <p:tag name="RUNTIME_ID" val="ff25f2b4-4df2-4ccf-8c23-170b76b3661a"/>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gD///////////////////////////////////////////////////////////////////////////////////////////////////////////////////////////////////////////////////////////////////////////////////////////////////////////////////////////////////////////////////////////////////////////////////////////////////////////////////////////////////////////////////////////////////////////////////////////////////////////////////////////////////////////////////////////////////////////////////////////////8BACAA////////////////AAAO////////AwAAAAQA////////////////////////////////////////////////////////////////////////////////////////////////////////////////////////////////////////////////////////////////////////////////////////////////////////////////////////////////////////////////////////////////////////////////////////////////////////////////////////////////////////////////////////////////////////////////////////////////////////////////////////////////////////////////////////////////////////////////////////////////////////////////////////AgACAP///////wUAAAACABAAC2Jkg1YZFM1PuDagT8ZnZ10EAAAAAAADAAAAAAADAAAAAwADAAAAAAD///////8DAAEA////////BQAAAAMAEAALfB49exrY60OJZ4bSg8mVOAQAAAABAAMAAAACAAMAAAAEAAQAAQD///////8FAAAABAAQAAtuCAahtpqHTrv4PAz/LCM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mSDVhkUzU+4NqBPxmdnXQREYXRhAAUAAAAAAk5hbWUADQAAAExpbmtEYXRhTGlzdAAQVmVyc2lvbgABAAAACUxhc3RXcml0ZQD4NUcZmQEAAAABAP////9hAGEAAAAFX2lkABAAAAAEfB49exrY60OJZ4bSg8mVOAREYXRhAAUAAAAAAk5hbWUADQAAAExpbmtEYXRhTGlzdAAQVmVyc2lvbgAAAAAACUxhc3RXcml0ZQD4NUcZmQEAAAACAP////9wAHAAAAAFX2lkABAAAAAEbggGobaah067+DwM/ywjIgNEYXRhABYAAAACUGVyc29uYWxJZAABAAAAAAACTmFtZQALAAAAUGVyc29uYWxJZAAQVmVyc2lvbgAAAAAACUxhc3RXcml0ZQAM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3742052"/>
  <p:tag name="EMPOWERCHARTSPROPERTIES_B_LENGTH" val="24576"/>
  <p:tag name="DOWN_MIGRATION_INITIAL_LAYOUT_REQUIRED" val="9.2.99"/>
  <p:tag name="RUNTIME_ID" val="bae85acf-10bd-40aa-9dd3-2b72764d2dea"/>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0LAYAVqKBNOv7kYqGn+/FUEAAAAAAADAAAAAAADAAAAAwADAAIA////////BQAAAAMAEAAL8TCrNKsNtEGPqHDCjPLpVQQAAAABAAMAAAACAAMAAAAEAAMAAAAAAP///////wQAAQD///////8FAAAABAAQAAvovg6Rz2sDRIF/i1VfC2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sBgBWooE06/uRioaf78VQREYXRhAAUAAAAAAk5hbWUADQAAAExpbmtEYXRhTGlzdAAQVmVyc2lvbgAAAAAACUxhc3RXcml0ZQAoNkcZmQEAAAABAP////9hAGEAAAAFX2lkABAAAAAE8TCrNKsNtEGPqHDCjPLpVQREYXRhAAUAAAAAAk5hbWUADQAAAExpbmtEYXRhTGlzdAAQVmVyc2lvbgABAAAACUxhc3RXcml0ZQAoNkcZmQEAAAACAP////9wAHAAAAAFX2lkABAAAAAE6L4Okc9rA0SBf4tVXwti/gNEYXRhABYAAAACUGVyc29uYWxJZAABAAAAAAACTmFtZQALAAAAUGVyc29uYWxJZAAQVmVyc2lvbgAAAAAACUxhc3RXcml0ZQBA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246606"/>
  <p:tag name="EMPOWERCHARTSPROPERTIES_B_LENGTH" val="24576"/>
  <p:tag name="DOWN_MIGRATION_INITIAL_LAYOUT_REQUIRED" val="9.2.99"/>
  <p:tag name="RUNTIME_ID" val="5a1d816b-0d14-42da-b307-f3b615cc6979"/>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09ofgDlgOhItvaJ3K7Auu4EAAAAAAADAAAAAAADAAAABAADAAEA////////BQAAAAMAEAALXsxn1fJWUUya6fXj/+fr7wQAAAABAAMAAAAEAAMAAAABAAQAAQD///////8FAAAABAAQAAvFxz18R3wORZ6FEuhLtkuI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2h+AOWA6Ei29oncrsC67gREYXRhAAUAAAAAAk5hbWUADQAAAExpbmtEYXRhTGlzdAAQVmVyc2lvbgABAAAACUxhc3RXcml0ZQBaNkcZmQEAAAABAP////9hAGEAAAAFX2lkABAAAAAEXsxn1fJWUUya6fXj/+fr7wREYXRhAAUAAAAAAk5hbWUADQAAAExpbmtEYXRhTGlzdAAQVmVyc2lvbgAAAAAACUxhc3RXcml0ZQBaNkcZmQEAAAACAP////9wAHAAAAAFX2lkABAAAAAExcc9fEd8DkWehRLoS7ZLiANEYXRhABYAAAACUGVyc29uYWxJZAABAAAAAAACTmFtZQALAAAAUGVyc29uYWxJZAAQVmVyc2lvbgAAAAAACUxhc3RXcml0ZQBs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688988"/>
  <p:tag name="EMPOWERCHARTSPROPERTIES_B_LENGTH" val="24576"/>
  <p:tag name="DOWN_MIGRATION_INITIAL_LAYOUT_REQUIRED" val="9.2.99"/>
  <p:tag name="RUNTIME_ID" val="3fac9fe1-ea51-44a5-aec9-a30fd7d36ae7"/>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wD///////8DAAAAAwD///////////////////////////////////////////////////////////////////////////////////////////////////////////////////////////////////////////////////////////////////////////////////////////////////////////////////////////////////////////////////////////////////////////////////////////////////////////////////////////////////////////////////////////////////////////////////////////////////////////////////////////////////////////////////////////////8BACAA////////////////AAAO////////AwAAAAMA////////////////////////////////////////////////////////////////////////////////////////////////////////////////////////////////////////////////////////////////////////////////////////////////////////////////////////////////////////////////////////////////////////////////////////////////////////////////////////////////////////////////////////////////////////////////////////////////////////////////////////////////////////////////////////////////////////////////////////////////////////////////////////AgACAP///////wUAAAACABAAC8/JtWaqnUtAi8HeBYYZvgoEAAAAAAADAAAABAADAAAAAwADAAAAAAADAAAAAwADAAQA////////BQAAAAMAEAALfonEoJDOs0yFy6Kw8ZYsNwQAAAABAAMAAAACAAMAAAABAAMAAAACAP///////wMAAAAAAP///////wMAAAAAAP///////wQAAQD///////8FAAAABAAQAAuv0ENQiyHuQqfSwypI7LF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8m1ZqqdS0CLwd4Fhhm+CgREYXRhAAUAAAAAAk5hbWUADQAAAExpbmtEYXRhTGlzdAAQVmVyc2lvbgABAAAACUxhc3RXcml0ZQCKNkcZmQEAAAABAP////9hAGEAAAAFX2lkABAAAAAEfonEoJDOs0yFy6Kw8ZYsNwREYXRhAAUAAAAAAk5hbWUADQAAAExpbmtEYXRhTGlzdAAQVmVyc2lvbgAAAAAACUxhc3RXcml0ZQCKNkcZmQEAAAACAP////9wAHAAAAAFX2lkABAAAAAEr9BDUIsh7kKn0sMqSOyxbANEYXRhABYAAAACUGVyc29uYWxJZAABAAAAAAACTmFtZQALAAAAUGVyc29uYWxJZAAQVmVyc2lvbgAAAAAACUxhc3RXcml0ZQCb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141128"/>
  <p:tag name="EMPOWERCHARTSPROPERTIES_B_LENGTH" val="24576"/>
  <p:tag name="DOWN_MIGRATION_INITIAL_LAYOUT_REQUIRED" val="9.2.99"/>
  <p:tag name="RUNTIME_ID" val="27c9014f-00ed-44c1-a430-7490e416fe5d"/>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1iEYYwQWa5Nj6MI2MyvEn0EAAAAAAADAAAABAADAAAAAwADAAAAAAD///////8DAAAAAAD///////8DAAEA////////BQAAAAMAEAAL9P2Szs9m60yZATBILZ7GmwQAAAABAAMAAAACAAMAAAABAAQAAQD///////8FAAAABAAQAAv8bP8gBFS9Ro0a7sJsp9Q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IRhjBBZrk2PowjYzK8SfQREYXRhAAUAAAAAAk5hbWUADQAAAExpbmtEYXRhTGlzdAAQVmVyc2lvbgABAAAACUxhc3RXcml0ZQCzNkcZmQEAAAABAP////9hAGEAAAAFX2lkABAAAAAE9P2Szs9m60yZATBILZ7GmwREYXRhAAUAAAAAAk5hbWUADQAAAExpbmtEYXRhTGlzdAAQVmVyc2lvbgAAAAAACUxhc3RXcml0ZQCzNkcZmQEAAAACAP////9wAHAAAAAFX2lkABAAAAAE/Gz/IARUvUaNGu7CbKfUCQNEYXRhABYAAAACUGVyc29uYWxJZAABAAAAAAACTmFtZQALAAAAUGVyc29uYWxJZAAQVmVyc2lvbgAAAAAACUxhc3RXcml0ZQDT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702387"/>
  <p:tag name="EMPOWERCHARTSPROPERTIES_B_LENGTH" val="24576"/>
  <p:tag name="DOWN_MIGRATION_INITIAL_LAYOUT_REQUIRED" val="9.2.99"/>
  <p:tag name="RUNTIME_ID" val="3640c03f-819d-44ec-a699-c0a443c508e5"/>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heme/theme1.xml><?xml version="1.0" encoding="utf-8"?>
<a:theme xmlns:a="http://schemas.openxmlformats.org/drawingml/2006/main" name="Office Theme">
  <a:themeElements>
    <a:clrScheme name="CNB Evenement 21/11">
      <a:dk1>
        <a:sysClr val="windowText" lastClr="000000"/>
      </a:dk1>
      <a:lt1>
        <a:sysClr val="window" lastClr="FFFFFF"/>
      </a:lt1>
      <a:dk2>
        <a:srgbClr val="000000"/>
      </a:dk2>
      <a:lt2>
        <a:srgbClr val="2D676D"/>
      </a:lt2>
      <a:accent1>
        <a:srgbClr val="D8B949"/>
      </a:accent1>
      <a:accent2>
        <a:srgbClr val="B39C65"/>
      </a:accent2>
      <a:accent3>
        <a:srgbClr val="535C5E"/>
      </a:accent3>
      <a:accent4>
        <a:srgbClr val="678693"/>
      </a:accent4>
      <a:accent5>
        <a:srgbClr val="5F8896"/>
      </a:accent5>
      <a:accent6>
        <a:srgbClr val="FFFFFF"/>
      </a:accent6>
      <a:hlink>
        <a:srgbClr val="B39C65"/>
      </a:hlink>
      <a:folHlink>
        <a:srgbClr val="678693"/>
      </a:folHlink>
    </a:clrScheme>
    <a:fontScheme name="CNB event">
      <a:majorFont>
        <a:latin typeface="Futura PT Book"/>
        <a:ea typeface=""/>
        <a:cs typeface=""/>
      </a:majorFont>
      <a:minorFont>
        <a:latin typeface="DIN 2014"/>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8D9B2B0B675944B804A582AC2A64061" ma:contentTypeVersion="3" ma:contentTypeDescription="Crée un document." ma:contentTypeScope="" ma:versionID="771b83c8c1eef6e180041f4be9a2678a">
  <xsd:schema xmlns:xsd="http://www.w3.org/2001/XMLSchema" xmlns:xs="http://www.w3.org/2001/XMLSchema" xmlns:p="http://schemas.microsoft.com/office/2006/metadata/properties" xmlns:ns2="059f11b1-9e85-4c06-8f8b-385557af14bd" targetNamespace="http://schemas.microsoft.com/office/2006/metadata/properties" ma:root="true" ma:fieldsID="3b9da10e3b456d04cd063b58ae88619b" ns2:_="">
    <xsd:import namespace="059f11b1-9e85-4c06-8f8b-385557af14bd"/>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9f11b1-9e85-4c06-8f8b-385557af14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2EC30F4-E1D6-439D-A09C-DFD63BEB482B}"/>
</file>

<file path=customXml/itemProps2.xml><?xml version="1.0" encoding="utf-8"?>
<ds:datastoreItem xmlns:ds="http://schemas.openxmlformats.org/officeDocument/2006/customXml" ds:itemID="{7EECA4C6-3538-4259-B246-CEEBF05A30CD}"/>
</file>

<file path=customXml/itemProps3.xml><?xml version="1.0" encoding="utf-8"?>
<ds:datastoreItem xmlns:ds="http://schemas.openxmlformats.org/officeDocument/2006/customXml" ds:itemID="{566B8314-8304-438C-8D7D-D93F70A279F9}"/>
</file>

<file path=docMetadata/LabelInfo.xml><?xml version="1.0" encoding="utf-8"?>
<clbl:labelList xmlns:clbl="http://schemas.microsoft.com/office/2020/mipLabelMetadata">
  <clbl:label id="{aa321b6e-c2f4-42f8-95b8-4d018e6d28ec}" enabled="0" method="" siteId="{aa321b6e-c2f4-42f8-95b8-4d018e6d28ec}" removed="1"/>
</clbl:labelList>
</file>

<file path=docProps/app.xml><?xml version="1.0" encoding="utf-8"?>
<Properties xmlns="http://schemas.openxmlformats.org/officeDocument/2006/extended-properties" xmlns:vt="http://schemas.openxmlformats.org/officeDocument/2006/docPropsVTypes">
  <TotalTime>541</TotalTime>
  <Words>3878</Words>
  <Application>Microsoft Office PowerPoint</Application>
  <PresentationFormat>Widescreen</PresentationFormat>
  <Paragraphs>272</Paragraphs>
  <Slides>36</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6</vt:i4>
      </vt:variant>
    </vt:vector>
  </HeadingPairs>
  <TitlesOfParts>
    <vt:vector size="45" baseType="lpstr">
      <vt:lpstr>Aptos</vt:lpstr>
      <vt:lpstr>Arial</vt:lpstr>
      <vt:lpstr>Calibri</vt:lpstr>
      <vt:lpstr>DIN 2014</vt:lpstr>
      <vt:lpstr>Futura PT Book</vt:lpstr>
      <vt:lpstr>Futura PT Heavy</vt:lpstr>
      <vt:lpstr>Futura Std Book</vt:lpstr>
      <vt:lpstr>Wingdings</vt:lpstr>
      <vt:lpstr>Office Theme</vt:lpstr>
      <vt:lpstr>Nomenclature Dintilhac des victimes par ricochet</vt:lpstr>
      <vt:lpstr>Titre 1  Bilan des 20 ans d’application de la nomenclature Dintilhac pour les victimes par ricochet  </vt:lpstr>
      <vt:lpstr>La Nomenclature Dintilhac des victimes par ricochet : le bilan 20 ans après</vt:lpstr>
      <vt:lpstr>1- La victime indirecte peut aussi avoir la qualité  de victime directe</vt:lpstr>
      <vt:lpstr>2- Les victimes indirectes nées après le décès  de la victime directe</vt:lpstr>
      <vt:lpstr>3- Le préjudice d’angoisse des proches</vt:lpstr>
      <vt:lpstr>4- Le préjudice économique des proches en cas  de décès</vt:lpstr>
      <vt:lpstr>Le préjudice économique des proches en cas de décès</vt:lpstr>
      <vt:lpstr>Titre 2  Perspectives : propositions pour une nouvelle nomenclature des préjudices des victimes par ricochet  Par Laurence CLERC RENAUD et Marie MESCAM  </vt:lpstr>
      <vt:lpstr>Introduction</vt:lpstr>
      <vt:lpstr>PREJUDICES RELATIONNELS DE LA VICTIME PAR RICOCHET LCR</vt:lpstr>
      <vt:lpstr>PowerPoint Presentation</vt:lpstr>
      <vt:lpstr>Préjudices relationnels de la victime par ricochet </vt:lpstr>
      <vt:lpstr>I. Préjudices temporaires </vt:lpstr>
      <vt:lpstr>A. Préjudices extra patrimoniaux temporaires </vt:lpstr>
      <vt:lpstr>1°) Préjudice d’attente et d’inquiétude  </vt:lpstr>
      <vt:lpstr>2°) Préjudice d’accompagnement </vt:lpstr>
      <vt:lpstr>B. Préjudices patrimoniaux temporaires </vt:lpstr>
      <vt:lpstr>1°) Frais et besoins divers temporaires </vt:lpstr>
      <vt:lpstr>2°) Préjudice professionnel temporaire </vt:lpstr>
      <vt:lpstr>II. Préjudices après décès ou consolidation de la victime par ricochet </vt:lpstr>
      <vt:lpstr>A. Préjudices extra-patrimoniaux après décès ou consolidation </vt:lpstr>
      <vt:lpstr>1°) Préjudice d’affection </vt:lpstr>
      <vt:lpstr>2°) Troubles dans les conditions d’existences </vt:lpstr>
      <vt:lpstr>2°) Troubles dans les conditions d’existences (suite) </vt:lpstr>
      <vt:lpstr>B. Préjudices patrimoniaux après décès ou consolidation </vt:lpstr>
      <vt:lpstr>1°) Frais et besoins divers après décès ou consolidation </vt:lpstr>
      <vt:lpstr>2°) Préjudice professionnel après la consolidation en cas de survie de la victime directe</vt:lpstr>
      <vt:lpstr>3°) Préjudice économique du fait du décès de la victime directe</vt:lpstr>
      <vt:lpstr>4°) Perte d’assistance personnelle ou domestique </vt:lpstr>
      <vt:lpstr>PREJUDICES CORPORELS DE LA VICTIME PAR RICOCHET  LCR</vt:lpstr>
      <vt:lpstr>PowerPoint Presentation</vt:lpstr>
      <vt:lpstr>PREJUDICES RELATIONNELS PAR RICOCHET</vt:lpstr>
      <vt:lpstr>PREJUDICES RELATIONNELS PAR RICOCHET</vt:lpstr>
      <vt:lpstr>PREJUDICES CORPORELS DE LA VICTIME PAR RICOCHET </vt:lpstr>
      <vt:lpstr>L’œil critique de Benoit MORNET B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rlette Simon</dc:creator>
  <cp:lastModifiedBy>Arlette Simon</cp:lastModifiedBy>
  <cp:revision>9</cp:revision>
  <dcterms:created xsi:type="dcterms:W3CDTF">2025-09-04T06:40:14Z</dcterms:created>
  <dcterms:modified xsi:type="dcterms:W3CDTF">2025-11-19T09:0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D9B2B0B675944B804A582AC2A64061</vt:lpwstr>
  </property>
</Properties>
</file>